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1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38"/>
  </p:notesMasterIdLst>
  <p:handoutMasterIdLst>
    <p:handoutMasterId r:id="rId39"/>
  </p:handoutMasterIdLst>
  <p:sldIdLst>
    <p:sldId id="727" r:id="rId16"/>
    <p:sldId id="749" r:id="rId17"/>
    <p:sldId id="867" r:id="rId18"/>
    <p:sldId id="921" r:id="rId19"/>
    <p:sldId id="922" r:id="rId20"/>
    <p:sldId id="806" r:id="rId21"/>
    <p:sldId id="866" r:id="rId22"/>
    <p:sldId id="777" r:id="rId23"/>
    <p:sldId id="756" r:id="rId24"/>
    <p:sldId id="832" r:id="rId25"/>
    <p:sldId id="877" r:id="rId26"/>
    <p:sldId id="827" r:id="rId27"/>
    <p:sldId id="826" r:id="rId28"/>
    <p:sldId id="825" r:id="rId29"/>
    <p:sldId id="873" r:id="rId30"/>
    <p:sldId id="824" r:id="rId31"/>
    <p:sldId id="886" r:id="rId32"/>
    <p:sldId id="761" r:id="rId33"/>
    <p:sldId id="836" r:id="rId34"/>
    <p:sldId id="863" r:id="rId35"/>
    <p:sldId id="830" r:id="rId36"/>
    <p:sldId id="907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C &amp; FDOC Checklist" id="{5C75EF3B-86B8-6647-A64C-81E4B07450B2}">
          <p14:sldIdLst>
            <p14:sldId id="727"/>
          </p14:sldIdLst>
        </p14:section>
        <p14:section name="CONNECT and Sharpen Companion FDOC" id="{A0C82838-10D7-43A1-9983-E9A634D22EF6}">
          <p14:sldIdLst>
            <p14:sldId id="749"/>
            <p14:sldId id="867"/>
            <p14:sldId id="921"/>
            <p14:sldId id="922"/>
            <p14:sldId id="806"/>
            <p14:sldId id="866"/>
            <p14:sldId id="777"/>
            <p14:sldId id="756"/>
          </p14:sldIdLst>
        </p14:section>
        <p14:section name="Sharpen Companion: Connect Non-IA, with LMS" id="{53C6C3A9-B3E0-4122-97C9-6E1E6D7D61D3}">
          <p14:sldIdLst>
            <p14:sldId id="832"/>
            <p14:sldId id="877"/>
            <p14:sldId id="827"/>
            <p14:sldId id="826"/>
            <p14:sldId id="825"/>
            <p14:sldId id="873"/>
            <p14:sldId id="824"/>
            <p14:sldId id="886"/>
            <p14:sldId id="761"/>
          </p14:sldIdLst>
        </p14:section>
        <p14:section name="Sharpen Companion: Connect Log-In with LMS" id="{AA956BDD-B3DA-40BB-9958-206883F48C3F}">
          <p14:sldIdLst>
            <p14:sldId id="836"/>
            <p14:sldId id="863"/>
            <p14:sldId id="830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264CB5-7010-614C-BCE4-D792C485F6AE}" v="1" dt="2025-05-21T21:03:26.583"/>
    <p1510:client id="{62117B1D-E6DC-4246-B115-4DD4ED0449D5}" v="38" dt="2025-05-22T15:02:51.545"/>
    <p1510:client id="{8BE88F45-600A-8BDA-BE61-A6957AD6EDAB}" v="2" dt="2025-05-21T21:44:21.776"/>
    <p1510:client id="{8F148A2E-FF69-BCC1-EC09-22DCA264EC3F}" v="84" dt="2025-05-21T20:52:07.6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0085" autoAdjust="0"/>
  </p:normalViewPr>
  <p:slideViewPr>
    <p:cSldViewPr snapToGrid="0">
      <p:cViewPr varScale="1">
        <p:scale>
          <a:sx n="77" d="100"/>
          <a:sy n="77" d="100"/>
        </p:scale>
        <p:origin x="61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notesMaster" Target="notesMasters/notesMaster1.xml"/><Relationship Id="rId46" Type="http://schemas.microsoft.com/office/2018/10/relationships/authors" Target="authors.xml"/><Relationship Id="rId20" Type="http://schemas.openxmlformats.org/officeDocument/2006/relationships/slide" Target="slides/slide5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ig, Sarit" userId="S::sarit.henig@mheducation.com::ad83c6bf-9a7d-4a88-b545-e6e8836bd6ee" providerId="AD" clId="Web-{113FB87F-3E2C-F4CF-CB1F-EF3A083B6AAA}"/>
    <pc:docChg chg="addSld delSld modSld sldOrd modSection">
      <pc:chgData name="Henig, Sarit" userId="S::sarit.henig@mheducation.com::ad83c6bf-9a7d-4a88-b545-e6e8836bd6ee" providerId="AD" clId="Web-{113FB87F-3E2C-F4CF-CB1F-EF3A083B6AAA}" dt="2025-05-20T00:34:22.499" v="271"/>
      <pc:docMkLst>
        <pc:docMk/>
      </pc:docMkLst>
      <pc:sldChg chg="modSp">
        <pc:chgData name="Henig, Sarit" userId="S::sarit.henig@mheducation.com::ad83c6bf-9a7d-4a88-b545-e6e8836bd6ee" providerId="AD" clId="Web-{113FB87F-3E2C-F4CF-CB1F-EF3A083B6AAA}" dt="2025-05-19T23:47:22.855" v="1"/>
        <pc:sldMkLst>
          <pc:docMk/>
          <pc:sldMk cId="2979897700" sldId="727"/>
        </pc:sldMkLst>
      </pc:sldChg>
      <pc:sldChg chg="modSp">
        <pc:chgData name="Henig, Sarit" userId="S::sarit.henig@mheducation.com::ad83c6bf-9a7d-4a88-b545-e6e8836bd6ee" providerId="AD" clId="Web-{113FB87F-3E2C-F4CF-CB1F-EF3A083B6AAA}" dt="2025-05-19T23:47:32.058" v="5"/>
        <pc:sldMkLst>
          <pc:docMk/>
          <pc:sldMk cId="3211013589" sldId="749"/>
        </pc:sldMkLst>
        <pc:picChg chg="mod">
          <ac:chgData name="Henig, Sarit" userId="S::sarit.henig@mheducation.com::ad83c6bf-9a7d-4a88-b545-e6e8836bd6ee" providerId="AD" clId="Web-{113FB87F-3E2C-F4CF-CB1F-EF3A083B6AAA}" dt="2025-05-19T23:47:32.058" v="5"/>
          <ac:picMkLst>
            <pc:docMk/>
            <pc:sldMk cId="3211013589" sldId="749"/>
            <ac:picMk id="9" creationId="{E75977C7-63D2-A57C-FF70-D762B6C44A6E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01:37.339" v="111"/>
        <pc:sldMkLst>
          <pc:docMk/>
          <pc:sldMk cId="1413674220" sldId="751"/>
        </pc:sldMkLst>
      </pc:sldChg>
      <pc:sldChg chg="modSp">
        <pc:chgData name="Henig, Sarit" userId="S::sarit.henig@mheducation.com::ad83c6bf-9a7d-4a88-b545-e6e8836bd6ee" providerId="AD" clId="Web-{113FB87F-3E2C-F4CF-CB1F-EF3A083B6AAA}" dt="2025-05-19T23:51:02.359" v="34"/>
        <pc:sldMkLst>
          <pc:docMk/>
          <pc:sldMk cId="4001432591" sldId="756"/>
        </pc:sldMkLst>
        <pc:picChg chg="mod">
          <ac:chgData name="Henig, Sarit" userId="S::sarit.henig@mheducation.com::ad83c6bf-9a7d-4a88-b545-e6e8836bd6ee" providerId="AD" clId="Web-{113FB87F-3E2C-F4CF-CB1F-EF3A083B6AAA}" dt="2025-05-19T23:51:02.359" v="34"/>
          <ac:picMkLst>
            <pc:docMk/>
            <pc:sldMk cId="4001432591" sldId="756"/>
            <ac:picMk id="2" creationId="{42D9CE48-3DF9-4968-D117-5A388ADAC95D}"/>
          </ac:picMkLst>
        </pc:picChg>
        <pc:picChg chg="mod">
          <ac:chgData name="Henig, Sarit" userId="S::sarit.henig@mheducation.com::ad83c6bf-9a7d-4a88-b545-e6e8836bd6ee" providerId="AD" clId="Web-{113FB87F-3E2C-F4CF-CB1F-EF3A083B6AAA}" dt="2025-05-19T23:50:45.234" v="32"/>
          <ac:picMkLst>
            <pc:docMk/>
            <pc:sldMk cId="4001432591" sldId="756"/>
            <ac:picMk id="10" creationId="{3FE766CE-7799-F25F-DBD6-7360E926E09F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16:56.058" v="195"/>
        <pc:sldMkLst>
          <pc:docMk/>
          <pc:sldMk cId="1752492807" sldId="761"/>
        </pc:sldMkLst>
        <pc:picChg chg="mod">
          <ac:chgData name="Henig, Sarit" userId="S::sarit.henig@mheducation.com::ad83c6bf-9a7d-4a88-b545-e6e8836bd6ee" providerId="AD" clId="Web-{113FB87F-3E2C-F4CF-CB1F-EF3A083B6AAA}" dt="2025-05-20T00:16:56.058" v="195"/>
          <ac:picMkLst>
            <pc:docMk/>
            <pc:sldMk cId="1752492807" sldId="761"/>
            <ac:picMk id="2" creationId="{3C6EFCC5-CA1F-6A93-25A7-35C18928780C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19T23:48:19.153" v="10"/>
        <pc:sldMkLst>
          <pc:docMk/>
          <pc:sldMk cId="3611646180" sldId="769"/>
        </pc:sldMkLst>
      </pc:sldChg>
      <pc:sldChg chg="modSp">
        <pc:chgData name="Henig, Sarit" userId="S::sarit.henig@mheducation.com::ad83c6bf-9a7d-4a88-b545-e6e8836bd6ee" providerId="AD" clId="Web-{113FB87F-3E2C-F4CF-CB1F-EF3A083B6AAA}" dt="2025-05-19T23:51:49.953" v="47"/>
        <pc:sldMkLst>
          <pc:docMk/>
          <pc:sldMk cId="1701959421" sldId="770"/>
        </pc:sldMkLst>
      </pc:sldChg>
      <pc:sldChg chg="modSp">
        <pc:chgData name="Henig, Sarit" userId="S::sarit.henig@mheducation.com::ad83c6bf-9a7d-4a88-b545-e6e8836bd6ee" providerId="AD" clId="Web-{113FB87F-3E2C-F4CF-CB1F-EF3A083B6AAA}" dt="2025-05-19T23:52:11.985" v="50"/>
        <pc:sldMkLst>
          <pc:docMk/>
          <pc:sldMk cId="3288097003" sldId="773"/>
        </pc:sldMkLst>
      </pc:sldChg>
      <pc:sldChg chg="modSp">
        <pc:chgData name="Henig, Sarit" userId="S::sarit.henig@mheducation.com::ad83c6bf-9a7d-4a88-b545-e6e8836bd6ee" providerId="AD" clId="Web-{113FB87F-3E2C-F4CF-CB1F-EF3A083B6AAA}" dt="2025-05-19T23:53:28.361" v="54"/>
        <pc:sldMkLst>
          <pc:docMk/>
          <pc:sldMk cId="1631459619" sldId="774"/>
        </pc:sldMkLst>
      </pc:sldChg>
      <pc:sldChg chg="modSp">
        <pc:chgData name="Henig, Sarit" userId="S::sarit.henig@mheducation.com::ad83c6bf-9a7d-4a88-b545-e6e8836bd6ee" providerId="AD" clId="Web-{113FB87F-3E2C-F4CF-CB1F-EF3A083B6AAA}" dt="2025-05-20T00:16:09.823" v="190" actId="1076"/>
        <pc:sldMkLst>
          <pc:docMk/>
          <pc:sldMk cId="4205446664" sldId="775"/>
        </pc:sldMkLst>
      </pc:sldChg>
      <pc:sldChg chg="modSp">
        <pc:chgData name="Henig, Sarit" userId="S::sarit.henig@mheducation.com::ad83c6bf-9a7d-4a88-b545-e6e8836bd6ee" providerId="AD" clId="Web-{113FB87F-3E2C-F4CF-CB1F-EF3A083B6AAA}" dt="2025-05-19T23:50:31.640" v="27"/>
        <pc:sldMkLst>
          <pc:docMk/>
          <pc:sldMk cId="1041247244" sldId="777"/>
        </pc:sldMkLst>
        <pc:picChg chg="mod">
          <ac:chgData name="Henig, Sarit" userId="S::sarit.henig@mheducation.com::ad83c6bf-9a7d-4a88-b545-e6e8836bd6ee" providerId="AD" clId="Web-{113FB87F-3E2C-F4CF-CB1F-EF3A083B6AAA}" dt="2025-05-19T23:50:14.202" v="25"/>
          <ac:picMkLst>
            <pc:docMk/>
            <pc:sldMk cId="1041247244" sldId="777"/>
            <ac:picMk id="5" creationId="{081C7F18-E127-826A-1D86-6108352F622A}"/>
          </ac:picMkLst>
        </pc:picChg>
        <pc:picChg chg="mod">
          <ac:chgData name="Henig, Sarit" userId="S::sarit.henig@mheducation.com::ad83c6bf-9a7d-4a88-b545-e6e8836bd6ee" providerId="AD" clId="Web-{113FB87F-3E2C-F4CF-CB1F-EF3A083B6AAA}" dt="2025-05-19T23:50:31.640" v="27"/>
          <ac:picMkLst>
            <pc:docMk/>
            <pc:sldMk cId="1041247244" sldId="777"/>
            <ac:picMk id="8" creationId="{50E6952B-DBF3-0425-E3E1-B8EB79D1DF6F}"/>
          </ac:picMkLst>
        </pc:picChg>
        <pc:picChg chg="mod">
          <ac:chgData name="Henig, Sarit" userId="S::sarit.henig@mheducation.com::ad83c6bf-9a7d-4a88-b545-e6e8836bd6ee" providerId="AD" clId="Web-{113FB87F-3E2C-F4CF-CB1F-EF3A083B6AAA}" dt="2025-05-19T23:50:07.936" v="24"/>
          <ac:picMkLst>
            <pc:docMk/>
            <pc:sldMk cId="1041247244" sldId="777"/>
            <ac:picMk id="9" creationId="{E9C0DE07-94EA-47D2-9677-F594AD58854B}"/>
          </ac:picMkLst>
        </pc:picChg>
        <pc:picChg chg="mod">
          <ac:chgData name="Henig, Sarit" userId="S::sarit.henig@mheducation.com::ad83c6bf-9a7d-4a88-b545-e6e8836bd6ee" providerId="AD" clId="Web-{113FB87F-3E2C-F4CF-CB1F-EF3A083B6AAA}" dt="2025-05-19T23:50:26.671" v="26"/>
          <ac:picMkLst>
            <pc:docMk/>
            <pc:sldMk cId="1041247244" sldId="777"/>
            <ac:picMk id="10" creationId="{6103DF3C-37C4-72FB-C49B-56BA553F5458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19T23:47:26.636" v="3"/>
        <pc:sldMkLst>
          <pc:docMk/>
          <pc:sldMk cId="820621749" sldId="801"/>
        </pc:sldMkLst>
      </pc:sldChg>
      <pc:sldChg chg="modSp">
        <pc:chgData name="Henig, Sarit" userId="S::sarit.henig@mheducation.com::ad83c6bf-9a7d-4a88-b545-e6e8836bd6ee" providerId="AD" clId="Web-{113FB87F-3E2C-F4CF-CB1F-EF3A083B6AAA}" dt="2025-05-20T00:21:24.563" v="203"/>
        <pc:sldMkLst>
          <pc:docMk/>
          <pc:sldMk cId="1038033158" sldId="812"/>
        </pc:sldMkLst>
      </pc:sldChg>
      <pc:sldChg chg="modSp">
        <pc:chgData name="Henig, Sarit" userId="S::sarit.henig@mheducation.com::ad83c6bf-9a7d-4a88-b545-e6e8836bd6ee" providerId="AD" clId="Web-{113FB87F-3E2C-F4CF-CB1F-EF3A083B6AAA}" dt="2025-05-20T00:21:33.282" v="204"/>
        <pc:sldMkLst>
          <pc:docMk/>
          <pc:sldMk cId="1525594926" sldId="813"/>
        </pc:sldMkLst>
      </pc:sldChg>
      <pc:sldChg chg="modSp">
        <pc:chgData name="Henig, Sarit" userId="S::sarit.henig@mheducation.com::ad83c6bf-9a7d-4a88-b545-e6e8836bd6ee" providerId="AD" clId="Web-{113FB87F-3E2C-F4CF-CB1F-EF3A083B6AAA}" dt="2025-05-19T23:54:28.519" v="62"/>
        <pc:sldMkLst>
          <pc:docMk/>
          <pc:sldMk cId="451818725" sldId="819"/>
        </pc:sldMkLst>
      </pc:sldChg>
      <pc:sldChg chg="modSp">
        <pc:chgData name="Henig, Sarit" userId="S::sarit.henig@mheducation.com::ad83c6bf-9a7d-4a88-b545-e6e8836bd6ee" providerId="AD" clId="Web-{113FB87F-3E2C-F4CF-CB1F-EF3A083B6AAA}" dt="2025-05-19T23:54:55.285" v="66"/>
        <pc:sldMkLst>
          <pc:docMk/>
          <pc:sldMk cId="2348071683" sldId="821"/>
        </pc:sldMkLst>
      </pc:sldChg>
      <pc:sldChg chg="modSp">
        <pc:chgData name="Henig, Sarit" userId="S::sarit.henig@mheducation.com::ad83c6bf-9a7d-4a88-b545-e6e8836bd6ee" providerId="AD" clId="Web-{113FB87F-3E2C-F4CF-CB1F-EF3A083B6AAA}" dt="2025-05-19T23:59:51.321" v="82"/>
        <pc:sldMkLst>
          <pc:docMk/>
          <pc:sldMk cId="420987227" sldId="822"/>
        </pc:sldMkLst>
      </pc:sldChg>
      <pc:sldChg chg="modSp ord">
        <pc:chgData name="Henig, Sarit" userId="S::sarit.henig@mheducation.com::ad83c6bf-9a7d-4a88-b545-e6e8836bd6ee" providerId="AD" clId="Web-{113FB87F-3E2C-F4CF-CB1F-EF3A083B6AAA}" dt="2025-05-20T00:16:36.511" v="193"/>
        <pc:sldMkLst>
          <pc:docMk/>
          <pc:sldMk cId="1181528412" sldId="824"/>
        </pc:sldMkLst>
        <pc:picChg chg="mod">
          <ac:chgData name="Henig, Sarit" userId="S::sarit.henig@mheducation.com::ad83c6bf-9a7d-4a88-b545-e6e8836bd6ee" providerId="AD" clId="Web-{113FB87F-3E2C-F4CF-CB1F-EF3A083B6AAA}" dt="2025-05-20T00:16:36.511" v="193"/>
          <ac:picMkLst>
            <pc:docMk/>
            <pc:sldMk cId="1181528412" sldId="824"/>
            <ac:picMk id="8" creationId="{18DCA569-E74B-E40C-300F-7B04AADE4E3B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16:23.011" v="192"/>
          <ac:picMkLst>
            <pc:docMk/>
            <pc:sldMk cId="1181528412" sldId="824"/>
            <ac:picMk id="25" creationId="{059FE09C-9DE5-1585-FCDD-17A4742F15DD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15:09.416" v="182"/>
        <pc:sldMkLst>
          <pc:docMk/>
          <pc:sldMk cId="53558719" sldId="825"/>
        </pc:sldMkLst>
        <pc:picChg chg="mod">
          <ac:chgData name="Henig, Sarit" userId="S::sarit.henig@mheducation.com::ad83c6bf-9a7d-4a88-b545-e6e8836bd6ee" providerId="AD" clId="Web-{113FB87F-3E2C-F4CF-CB1F-EF3A083B6AAA}" dt="2025-05-20T00:15:09.416" v="182"/>
          <ac:picMkLst>
            <pc:docMk/>
            <pc:sldMk cId="53558719" sldId="825"/>
            <ac:picMk id="12" creationId="{3405731D-3A75-21A0-9B62-B47F27485542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15:04.572" v="181"/>
          <ac:picMkLst>
            <pc:docMk/>
            <pc:sldMk cId="53558719" sldId="825"/>
            <ac:picMk id="15" creationId="{9EBDBBCC-E9FD-5D6D-4381-9D17726BAA2A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14:42.103" v="176"/>
        <pc:sldMkLst>
          <pc:docMk/>
          <pc:sldMk cId="2821628256" sldId="826"/>
        </pc:sldMkLst>
        <pc:picChg chg="mod">
          <ac:chgData name="Henig, Sarit" userId="S::sarit.henig@mheducation.com::ad83c6bf-9a7d-4a88-b545-e6e8836bd6ee" providerId="AD" clId="Web-{113FB87F-3E2C-F4CF-CB1F-EF3A083B6AAA}" dt="2025-05-20T00:14:42.103" v="176"/>
          <ac:picMkLst>
            <pc:docMk/>
            <pc:sldMk cId="2821628256" sldId="826"/>
            <ac:picMk id="15" creationId="{B49D66EA-9C68-AE1F-4A04-30BF7606EE15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14:31.587" v="173"/>
          <ac:picMkLst>
            <pc:docMk/>
            <pc:sldMk cId="2821628256" sldId="826"/>
            <ac:picMk id="17" creationId="{07529E64-B203-0083-8EBA-37183B81845B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14:20.102" v="172"/>
        <pc:sldMkLst>
          <pc:docMk/>
          <pc:sldMk cId="853431891" sldId="827"/>
        </pc:sldMkLst>
        <pc:grpChg chg="mod">
          <ac:chgData name="Henig, Sarit" userId="S::sarit.henig@mheducation.com::ad83c6bf-9a7d-4a88-b545-e6e8836bd6ee" providerId="AD" clId="Web-{113FB87F-3E2C-F4CF-CB1F-EF3A083B6AAA}" dt="2025-05-20T00:14:20.102" v="172"/>
          <ac:grpSpMkLst>
            <pc:docMk/>
            <pc:sldMk cId="853431891" sldId="827"/>
            <ac:grpSpMk id="14" creationId="{4733343C-1A2B-1EE0-0C54-B0B3B567F1E7}"/>
          </ac:grpSpMkLst>
        </pc:grpChg>
      </pc:sldChg>
      <pc:sldChg chg="modSp">
        <pc:chgData name="Henig, Sarit" userId="S::sarit.henig@mheducation.com::ad83c6bf-9a7d-4a88-b545-e6e8836bd6ee" providerId="AD" clId="Web-{113FB87F-3E2C-F4CF-CB1F-EF3A083B6AAA}" dt="2025-05-20T00:25:24.833" v="226"/>
        <pc:sldMkLst>
          <pc:docMk/>
          <pc:sldMk cId="2659409275" sldId="830"/>
        </pc:sldMkLst>
        <pc:picChg chg="mod">
          <ac:chgData name="Henig, Sarit" userId="S::sarit.henig@mheducation.com::ad83c6bf-9a7d-4a88-b545-e6e8836bd6ee" providerId="AD" clId="Web-{113FB87F-3E2C-F4CF-CB1F-EF3A083B6AAA}" dt="2025-05-20T00:25:00.504" v="224"/>
          <ac:picMkLst>
            <pc:docMk/>
            <pc:sldMk cId="2659409275" sldId="830"/>
            <ac:picMk id="6" creationId="{C98E3267-1366-3737-FC75-06C918A0D404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25:24.833" v="226"/>
          <ac:picMkLst>
            <pc:docMk/>
            <pc:sldMk cId="2659409275" sldId="830"/>
            <ac:picMk id="7" creationId="{7F45EF98-FA8C-618D-6CBC-CC920CB809FE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25:11.942" v="225"/>
          <ac:picMkLst>
            <pc:docMk/>
            <pc:sldMk cId="2659409275" sldId="830"/>
            <ac:picMk id="10" creationId="{FD1BC754-F213-B3DE-5D98-37E33D528607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23:38.534" v="215"/>
        <pc:sldMkLst>
          <pc:docMk/>
          <pc:sldMk cId="3403901250" sldId="831"/>
        </pc:sldMkLst>
      </pc:sldChg>
      <pc:sldChg chg="addSp delSp modSp">
        <pc:chgData name="Henig, Sarit" userId="S::sarit.henig@mheducation.com::ad83c6bf-9a7d-4a88-b545-e6e8836bd6ee" providerId="AD" clId="Web-{113FB87F-3E2C-F4CF-CB1F-EF3A083B6AAA}" dt="2025-05-20T00:00:48.463" v="89"/>
        <pc:sldMkLst>
          <pc:docMk/>
          <pc:sldMk cId="1557239451" sldId="832"/>
        </pc:sldMkLst>
        <pc:picChg chg="mod">
          <ac:chgData name="Henig, Sarit" userId="S::sarit.henig@mheducation.com::ad83c6bf-9a7d-4a88-b545-e6e8836bd6ee" providerId="AD" clId="Web-{113FB87F-3E2C-F4CF-CB1F-EF3A083B6AAA}" dt="2025-05-20T00:00:48.463" v="89"/>
          <ac:picMkLst>
            <pc:docMk/>
            <pc:sldMk cId="1557239451" sldId="832"/>
            <ac:picMk id="14" creationId="{10798DD6-469C-DC2A-93A7-786B9D829EF8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00:45.916" v="87"/>
          <ac:picMkLst>
            <pc:docMk/>
            <pc:sldMk cId="1557239451" sldId="832"/>
            <ac:picMk id="16" creationId="{E945652F-4939-F4BB-055D-B0DBF178C6F4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19T23:51:35.203" v="45"/>
        <pc:sldMkLst>
          <pc:docMk/>
          <pc:sldMk cId="1941400855" sldId="833"/>
        </pc:sldMkLst>
      </pc:sldChg>
      <pc:sldChg chg="modSp">
        <pc:chgData name="Henig, Sarit" userId="S::sarit.henig@mheducation.com::ad83c6bf-9a7d-4a88-b545-e6e8836bd6ee" providerId="AD" clId="Web-{113FB87F-3E2C-F4CF-CB1F-EF3A083B6AAA}" dt="2025-05-20T00:01:08.323" v="98"/>
        <pc:sldMkLst>
          <pc:docMk/>
          <pc:sldMk cId="2127015796" sldId="834"/>
        </pc:sldMkLst>
      </pc:sldChg>
      <pc:sldChg chg="modSp">
        <pc:chgData name="Henig, Sarit" userId="S::sarit.henig@mheducation.com::ad83c6bf-9a7d-4a88-b545-e6e8836bd6ee" providerId="AD" clId="Web-{113FB87F-3E2C-F4CF-CB1F-EF3A083B6AAA}" dt="2025-05-20T00:01:16.026" v="101"/>
        <pc:sldMkLst>
          <pc:docMk/>
          <pc:sldMk cId="1020506784" sldId="835"/>
        </pc:sldMkLst>
      </pc:sldChg>
      <pc:sldChg chg="addSp delSp modSp">
        <pc:chgData name="Henig, Sarit" userId="S::sarit.henig@mheducation.com::ad83c6bf-9a7d-4a88-b545-e6e8836bd6ee" providerId="AD" clId="Web-{113FB87F-3E2C-F4CF-CB1F-EF3A083B6AAA}" dt="2025-05-20T00:01:31.558" v="109"/>
        <pc:sldMkLst>
          <pc:docMk/>
          <pc:sldMk cId="3302861553" sldId="836"/>
        </pc:sldMkLst>
        <pc:picChg chg="mod">
          <ac:chgData name="Henig, Sarit" userId="S::sarit.henig@mheducation.com::ad83c6bf-9a7d-4a88-b545-e6e8836bd6ee" providerId="AD" clId="Web-{113FB87F-3E2C-F4CF-CB1F-EF3A083B6AAA}" dt="2025-05-20T00:01:19.760" v="103"/>
          <ac:picMkLst>
            <pc:docMk/>
            <pc:sldMk cId="3302861553" sldId="836"/>
            <ac:picMk id="4" creationId="{6EB94CDD-0A9D-0594-DEE2-47301F086046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01:31.558" v="109"/>
          <ac:picMkLst>
            <pc:docMk/>
            <pc:sldMk cId="3302861553" sldId="836"/>
            <ac:picMk id="8" creationId="{F9AFD67B-AD9B-571D-45B5-45CAD26F37EB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02:44.684" v="124"/>
        <pc:sldMkLst>
          <pc:docMk/>
          <pc:sldMk cId="2968494876" sldId="842"/>
        </pc:sldMkLst>
      </pc:sldChg>
      <pc:sldChg chg="modSp">
        <pc:chgData name="Henig, Sarit" userId="S::sarit.henig@mheducation.com::ad83c6bf-9a7d-4a88-b545-e6e8836bd6ee" providerId="AD" clId="Web-{113FB87F-3E2C-F4CF-CB1F-EF3A083B6AAA}" dt="2025-05-20T00:03:39.044" v="133"/>
        <pc:sldMkLst>
          <pc:docMk/>
          <pc:sldMk cId="52177719" sldId="843"/>
        </pc:sldMkLst>
      </pc:sldChg>
      <pc:sldChg chg="modSp">
        <pc:chgData name="Henig, Sarit" userId="S::sarit.henig@mheducation.com::ad83c6bf-9a7d-4a88-b545-e6e8836bd6ee" providerId="AD" clId="Web-{113FB87F-3E2C-F4CF-CB1F-EF3A083B6AAA}" dt="2025-05-20T00:27:48.804" v="228"/>
        <pc:sldMkLst>
          <pc:docMk/>
          <pc:sldMk cId="3431343996" sldId="844"/>
        </pc:sldMkLst>
      </pc:sldChg>
      <pc:sldChg chg="modSp">
        <pc:chgData name="Henig, Sarit" userId="S::sarit.henig@mheducation.com::ad83c6bf-9a7d-4a88-b545-e6e8836bd6ee" providerId="AD" clId="Web-{113FB87F-3E2C-F4CF-CB1F-EF3A083B6AAA}" dt="2025-05-20T00:29:07.493" v="240"/>
        <pc:sldMkLst>
          <pc:docMk/>
          <pc:sldMk cId="2279243532" sldId="845"/>
        </pc:sldMkLst>
      </pc:sldChg>
      <pc:sldChg chg="modSp">
        <pc:chgData name="Henig, Sarit" userId="S::sarit.henig@mheducation.com::ad83c6bf-9a7d-4a88-b545-e6e8836bd6ee" providerId="AD" clId="Web-{113FB87F-3E2C-F4CF-CB1F-EF3A083B6AAA}" dt="2025-05-20T00:28:14.617" v="230"/>
        <pc:sldMkLst>
          <pc:docMk/>
          <pc:sldMk cId="3793010207" sldId="846"/>
        </pc:sldMkLst>
      </pc:sldChg>
      <pc:sldChg chg="modSp">
        <pc:chgData name="Henig, Sarit" userId="S::sarit.henig@mheducation.com::ad83c6bf-9a7d-4a88-b545-e6e8836bd6ee" providerId="AD" clId="Web-{113FB87F-3E2C-F4CF-CB1F-EF3A083B6AAA}" dt="2025-05-20T00:28:20.430" v="232"/>
        <pc:sldMkLst>
          <pc:docMk/>
          <pc:sldMk cId="3662818759" sldId="847"/>
        </pc:sldMkLst>
      </pc:sldChg>
      <pc:sldChg chg="modSp">
        <pc:chgData name="Henig, Sarit" userId="S::sarit.henig@mheducation.com::ad83c6bf-9a7d-4a88-b545-e6e8836bd6ee" providerId="AD" clId="Web-{113FB87F-3E2C-F4CF-CB1F-EF3A083B6AAA}" dt="2025-05-20T00:28:26.727" v="234"/>
        <pc:sldMkLst>
          <pc:docMk/>
          <pc:sldMk cId="2335909723" sldId="848"/>
        </pc:sldMkLst>
      </pc:sldChg>
      <pc:sldChg chg="modSp">
        <pc:chgData name="Henig, Sarit" userId="S::sarit.henig@mheducation.com::ad83c6bf-9a7d-4a88-b545-e6e8836bd6ee" providerId="AD" clId="Web-{113FB87F-3E2C-F4CF-CB1F-EF3A083B6AAA}" dt="2025-05-20T00:28:45.024" v="239"/>
        <pc:sldMkLst>
          <pc:docMk/>
          <pc:sldMk cId="1238119260" sldId="849"/>
        </pc:sldMkLst>
      </pc:sldChg>
      <pc:sldChg chg="modSp">
        <pc:chgData name="Henig, Sarit" userId="S::sarit.henig@mheducation.com::ad83c6bf-9a7d-4a88-b545-e6e8836bd6ee" providerId="AD" clId="Web-{113FB87F-3E2C-F4CF-CB1F-EF3A083B6AAA}" dt="2025-05-20T00:29:24.072" v="242"/>
        <pc:sldMkLst>
          <pc:docMk/>
          <pc:sldMk cId="45507541" sldId="851"/>
        </pc:sldMkLst>
      </pc:sldChg>
      <pc:sldChg chg="modSp">
        <pc:chgData name="Henig, Sarit" userId="S::sarit.henig@mheducation.com::ad83c6bf-9a7d-4a88-b545-e6e8836bd6ee" providerId="AD" clId="Web-{113FB87F-3E2C-F4CF-CB1F-EF3A083B6AAA}" dt="2025-05-20T00:29:40.166" v="244"/>
        <pc:sldMkLst>
          <pc:docMk/>
          <pc:sldMk cId="1056654386" sldId="852"/>
        </pc:sldMkLst>
      </pc:sldChg>
      <pc:sldChg chg="modSp">
        <pc:chgData name="Henig, Sarit" userId="S::sarit.henig@mheducation.com::ad83c6bf-9a7d-4a88-b545-e6e8836bd6ee" providerId="AD" clId="Web-{113FB87F-3E2C-F4CF-CB1F-EF3A083B6AAA}" dt="2025-05-20T00:30:07.510" v="247"/>
        <pc:sldMkLst>
          <pc:docMk/>
          <pc:sldMk cId="666288661" sldId="853"/>
        </pc:sldMkLst>
      </pc:sldChg>
      <pc:sldChg chg="delSp modSp">
        <pc:chgData name="Henig, Sarit" userId="S::sarit.henig@mheducation.com::ad83c6bf-9a7d-4a88-b545-e6e8836bd6ee" providerId="AD" clId="Web-{113FB87F-3E2C-F4CF-CB1F-EF3A083B6AAA}" dt="2025-05-20T00:34:22.499" v="271"/>
        <pc:sldMkLst>
          <pc:docMk/>
          <pc:sldMk cId="2107797622" sldId="856"/>
        </pc:sldMkLst>
      </pc:sldChg>
      <pc:sldChg chg="modSp">
        <pc:chgData name="Henig, Sarit" userId="S::sarit.henig@mheducation.com::ad83c6bf-9a7d-4a88-b545-e6e8836bd6ee" providerId="AD" clId="Web-{113FB87F-3E2C-F4CF-CB1F-EF3A083B6AAA}" dt="2025-05-20T00:24:15.238" v="220"/>
        <pc:sldMkLst>
          <pc:docMk/>
          <pc:sldMk cId="1950814340" sldId="862"/>
        </pc:sldMkLst>
      </pc:sldChg>
      <pc:sldChg chg="modSp">
        <pc:chgData name="Henig, Sarit" userId="S::sarit.henig@mheducation.com::ad83c6bf-9a7d-4a88-b545-e6e8836bd6ee" providerId="AD" clId="Web-{113FB87F-3E2C-F4CF-CB1F-EF3A083B6AAA}" dt="2025-05-20T00:24:43.082" v="223"/>
        <pc:sldMkLst>
          <pc:docMk/>
          <pc:sldMk cId="572236885" sldId="863"/>
        </pc:sldMkLst>
        <pc:picChg chg="mod">
          <ac:chgData name="Henig, Sarit" userId="S::sarit.henig@mheducation.com::ad83c6bf-9a7d-4a88-b545-e6e8836bd6ee" providerId="AD" clId="Web-{113FB87F-3E2C-F4CF-CB1F-EF3A083B6AAA}" dt="2025-05-20T00:24:28.285" v="221"/>
          <ac:picMkLst>
            <pc:docMk/>
            <pc:sldMk cId="572236885" sldId="863"/>
            <ac:picMk id="7" creationId="{B2102AB5-EC71-434C-FEB4-30BD35AD5708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24:37.145" v="222"/>
          <ac:picMkLst>
            <pc:docMk/>
            <pc:sldMk cId="572236885" sldId="863"/>
            <ac:picMk id="9" creationId="{84543BC3-0BFA-C64F-A2FD-2E27DA75B59A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24:43.082" v="223"/>
          <ac:picMkLst>
            <pc:docMk/>
            <pc:sldMk cId="572236885" sldId="863"/>
            <ac:picMk id="19" creationId="{E2528E62-6FA8-04B7-83E7-01D693DAE85C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04:22.264" v="138"/>
        <pc:sldMkLst>
          <pc:docMk/>
          <pc:sldMk cId="2554045213" sldId="865"/>
        </pc:sldMkLst>
      </pc:sldChg>
      <pc:sldChg chg="modSp">
        <pc:chgData name="Henig, Sarit" userId="S::sarit.henig@mheducation.com::ad83c6bf-9a7d-4a88-b545-e6e8836bd6ee" providerId="AD" clId="Web-{113FB87F-3E2C-F4CF-CB1F-EF3A083B6AAA}" dt="2025-05-19T23:48:30.559" v="11"/>
        <pc:sldMkLst>
          <pc:docMk/>
          <pc:sldMk cId="2659924595" sldId="867"/>
        </pc:sldMkLst>
        <pc:picChg chg="mod">
          <ac:chgData name="Henig, Sarit" userId="S::sarit.henig@mheducation.com::ad83c6bf-9a7d-4a88-b545-e6e8836bd6ee" providerId="AD" clId="Web-{113FB87F-3E2C-F4CF-CB1F-EF3A083B6AAA}" dt="2025-05-19T23:48:30.559" v="11"/>
          <ac:picMkLst>
            <pc:docMk/>
            <pc:sldMk cId="2659924595" sldId="867"/>
            <ac:picMk id="7" creationId="{25FAB81B-B0F0-B287-4225-8C00219481D6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03:58.232" v="136"/>
        <pc:sldMkLst>
          <pc:docMk/>
          <pc:sldMk cId="3002227915" sldId="870"/>
        </pc:sldMkLst>
      </pc:sldChg>
      <pc:sldChg chg="modSp">
        <pc:chgData name="Henig, Sarit" userId="S::sarit.henig@mheducation.com::ad83c6bf-9a7d-4a88-b545-e6e8836bd6ee" providerId="AD" clId="Web-{113FB87F-3E2C-F4CF-CB1F-EF3A083B6AAA}" dt="2025-05-20T00:15:18.791" v="183" actId="1076"/>
        <pc:sldMkLst>
          <pc:docMk/>
          <pc:sldMk cId="33280532" sldId="871"/>
        </pc:sldMkLst>
      </pc:sldChg>
      <pc:sldChg chg="modSp">
        <pc:chgData name="Henig, Sarit" userId="S::sarit.henig@mheducation.com::ad83c6bf-9a7d-4a88-b545-e6e8836bd6ee" providerId="AD" clId="Web-{113FB87F-3E2C-F4CF-CB1F-EF3A083B6AAA}" dt="2025-05-20T00:15:28.119" v="184"/>
        <pc:sldMkLst>
          <pc:docMk/>
          <pc:sldMk cId="2634225923" sldId="873"/>
        </pc:sldMkLst>
        <pc:picChg chg="mod">
          <ac:chgData name="Henig, Sarit" userId="S::sarit.henig@mheducation.com::ad83c6bf-9a7d-4a88-b545-e6e8836bd6ee" providerId="AD" clId="Web-{113FB87F-3E2C-F4CF-CB1F-EF3A083B6AAA}" dt="2025-05-20T00:15:28.119" v="184"/>
          <ac:picMkLst>
            <pc:docMk/>
            <pc:sldMk cId="2634225923" sldId="873"/>
            <ac:picMk id="2" creationId="{E34CF3BB-2E6A-CD43-7F7F-992EA4E3A15B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13:54.336" v="170"/>
        <pc:sldMkLst>
          <pc:docMk/>
          <pc:sldMk cId="1160179768" sldId="875"/>
        </pc:sldMkLst>
      </pc:sldChg>
      <pc:sldChg chg="modSp">
        <pc:chgData name="Henig, Sarit" userId="S::sarit.henig@mheducation.com::ad83c6bf-9a7d-4a88-b545-e6e8836bd6ee" providerId="AD" clId="Web-{113FB87F-3E2C-F4CF-CB1F-EF3A083B6AAA}" dt="2025-05-20T00:13:43.383" v="168"/>
        <pc:sldMkLst>
          <pc:docMk/>
          <pc:sldMk cId="371553013" sldId="876"/>
        </pc:sldMkLst>
      </pc:sldChg>
      <pc:sldChg chg="addSp delSp modSp">
        <pc:chgData name="Henig, Sarit" userId="S::sarit.henig@mheducation.com::ad83c6bf-9a7d-4a88-b545-e6e8836bd6ee" providerId="AD" clId="Web-{113FB87F-3E2C-F4CF-CB1F-EF3A083B6AAA}" dt="2025-05-20T00:13:32.445" v="166"/>
        <pc:sldMkLst>
          <pc:docMk/>
          <pc:sldMk cId="2463117656" sldId="877"/>
        </pc:sldMkLst>
        <pc:picChg chg="mod">
          <ac:chgData name="Henig, Sarit" userId="S::sarit.henig@mheducation.com::ad83c6bf-9a7d-4a88-b545-e6e8836bd6ee" providerId="AD" clId="Web-{113FB87F-3E2C-F4CF-CB1F-EF3A083B6AAA}" dt="2025-05-20T00:12:05.694" v="155"/>
          <ac:picMkLst>
            <pc:docMk/>
            <pc:sldMk cId="2463117656" sldId="877"/>
            <ac:picMk id="6" creationId="{FFEA8C71-50A9-08B9-648D-B82A910DDB49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13:32.445" v="166"/>
          <ac:picMkLst>
            <pc:docMk/>
            <pc:sldMk cId="2463117656" sldId="877"/>
            <ac:picMk id="7" creationId="{9DCAB839-3EB0-FA8E-0548-D5834DC754E4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12:19.803" v="158"/>
          <ac:picMkLst>
            <pc:docMk/>
            <pc:sldMk cId="2463117656" sldId="877"/>
            <ac:picMk id="9" creationId="{40D199CB-93B3-1C6B-86D7-7B2F406D2358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11:52.756" v="154"/>
        <pc:sldMkLst>
          <pc:docMk/>
          <pc:sldMk cId="1101454747" sldId="878"/>
        </pc:sldMkLst>
      </pc:sldChg>
      <pc:sldChg chg="modSp">
        <pc:chgData name="Henig, Sarit" userId="S::sarit.henig@mheducation.com::ad83c6bf-9a7d-4a88-b545-e6e8836bd6ee" providerId="AD" clId="Web-{113FB87F-3E2C-F4CF-CB1F-EF3A083B6AAA}" dt="2025-05-20T00:21:50.298" v="205"/>
        <pc:sldMkLst>
          <pc:docMk/>
          <pc:sldMk cId="3876605206" sldId="879"/>
        </pc:sldMkLst>
      </pc:sldChg>
      <pc:sldChg chg="modSp">
        <pc:chgData name="Henig, Sarit" userId="S::sarit.henig@mheducation.com::ad83c6bf-9a7d-4a88-b545-e6e8836bd6ee" providerId="AD" clId="Web-{113FB87F-3E2C-F4CF-CB1F-EF3A083B6AAA}" dt="2025-05-20T00:26:01.006" v="227"/>
        <pc:sldMkLst>
          <pc:docMk/>
          <pc:sldMk cId="1908401913" sldId="884"/>
        </pc:sldMkLst>
      </pc:sldChg>
      <pc:sldChg chg="modSp">
        <pc:chgData name="Henig, Sarit" userId="S::sarit.henig@mheducation.com::ad83c6bf-9a7d-4a88-b545-e6e8836bd6ee" providerId="AD" clId="Web-{113FB87F-3E2C-F4CF-CB1F-EF3A083B6AAA}" dt="2025-05-20T00:29:50.932" v="245"/>
        <pc:sldMkLst>
          <pc:docMk/>
          <pc:sldMk cId="175665335" sldId="885"/>
        </pc:sldMkLst>
      </pc:sldChg>
      <pc:sldChg chg="modSp">
        <pc:chgData name="Henig, Sarit" userId="S::sarit.henig@mheducation.com::ad83c6bf-9a7d-4a88-b545-e6e8836bd6ee" providerId="AD" clId="Web-{113FB87F-3E2C-F4CF-CB1F-EF3A083B6AAA}" dt="2025-05-20T00:15:44.479" v="185"/>
        <pc:sldMkLst>
          <pc:docMk/>
          <pc:sldMk cId="1345630900" sldId="886"/>
        </pc:sldMkLst>
        <pc:picChg chg="mod">
          <ac:chgData name="Henig, Sarit" userId="S::sarit.henig@mheducation.com::ad83c6bf-9a7d-4a88-b545-e6e8836bd6ee" providerId="AD" clId="Web-{113FB87F-3E2C-F4CF-CB1F-EF3A083B6AAA}" dt="2025-05-20T00:15:44.479" v="185"/>
          <ac:picMkLst>
            <pc:docMk/>
            <pc:sldMk cId="1345630900" sldId="886"/>
            <ac:picMk id="12" creationId="{64124D77-4556-1A1B-AD75-EF7071311923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30:29.401" v="250"/>
        <pc:sldMkLst>
          <pc:docMk/>
          <pc:sldMk cId="2955950541" sldId="887"/>
        </pc:sldMkLst>
      </pc:sldChg>
      <pc:sldChg chg="modSp">
        <pc:chgData name="Henig, Sarit" userId="S::sarit.henig@mheducation.com::ad83c6bf-9a7d-4a88-b545-e6e8836bd6ee" providerId="AD" clId="Web-{113FB87F-3E2C-F4CF-CB1F-EF3A083B6AAA}" dt="2025-05-20T00:03:16.372" v="129"/>
        <pc:sldMkLst>
          <pc:docMk/>
          <pc:sldMk cId="1760704136" sldId="888"/>
        </pc:sldMkLst>
      </pc:sldChg>
      <pc:sldChg chg="modSp">
        <pc:chgData name="Henig, Sarit" userId="S::sarit.henig@mheducation.com::ad83c6bf-9a7d-4a88-b545-e6e8836bd6ee" providerId="AD" clId="Web-{113FB87F-3E2C-F4CF-CB1F-EF3A083B6AAA}" dt="2025-05-20T00:00:59.057" v="93"/>
        <pc:sldMkLst>
          <pc:docMk/>
          <pc:sldMk cId="2687483951" sldId="891"/>
        </pc:sldMkLst>
      </pc:sldChg>
      <pc:sldChg chg="modSp">
        <pc:chgData name="Henig, Sarit" userId="S::sarit.henig@mheducation.com::ad83c6bf-9a7d-4a88-b545-e6e8836bd6ee" providerId="AD" clId="Web-{113FB87F-3E2C-F4CF-CB1F-EF3A083B6AAA}" dt="2025-05-20T00:20:04.499" v="198"/>
        <pc:sldMkLst>
          <pc:docMk/>
          <pc:sldMk cId="640699691" sldId="892"/>
        </pc:sldMkLst>
      </pc:sldChg>
      <pc:sldChg chg="modSp">
        <pc:chgData name="Henig, Sarit" userId="S::sarit.henig@mheducation.com::ad83c6bf-9a7d-4a88-b545-e6e8836bd6ee" providerId="AD" clId="Web-{113FB87F-3E2C-F4CF-CB1F-EF3A083B6AAA}" dt="2025-05-20T00:19:16.795" v="197"/>
        <pc:sldMkLst>
          <pc:docMk/>
          <pc:sldMk cId="2055400002" sldId="895"/>
        </pc:sldMkLst>
      </pc:sldChg>
      <pc:sldChg chg="modSp">
        <pc:chgData name="Henig, Sarit" userId="S::sarit.henig@mheducation.com::ad83c6bf-9a7d-4a88-b545-e6e8836bd6ee" providerId="AD" clId="Web-{113FB87F-3E2C-F4CF-CB1F-EF3A083B6AAA}" dt="2025-05-20T00:19:07.389" v="196"/>
        <pc:sldMkLst>
          <pc:docMk/>
          <pc:sldMk cId="319337914" sldId="896"/>
        </pc:sldMkLst>
      </pc:sldChg>
      <pc:sldChg chg="modSp">
        <pc:chgData name="Henig, Sarit" userId="S::sarit.henig@mheducation.com::ad83c6bf-9a7d-4a88-b545-e6e8836bd6ee" providerId="AD" clId="Web-{113FB87F-3E2C-F4CF-CB1F-EF3A083B6AAA}" dt="2025-05-20T00:33:34.092" v="265"/>
        <pc:sldMkLst>
          <pc:docMk/>
          <pc:sldMk cId="1576159621" sldId="897"/>
        </pc:sldMkLst>
      </pc:sldChg>
      <pc:sldChg chg="modSp">
        <pc:chgData name="Henig, Sarit" userId="S::sarit.henig@mheducation.com::ad83c6bf-9a7d-4a88-b545-e6e8836bd6ee" providerId="AD" clId="Web-{113FB87F-3E2C-F4CF-CB1F-EF3A083B6AAA}" dt="2025-05-20T00:33:04.122" v="262"/>
        <pc:sldMkLst>
          <pc:docMk/>
          <pc:sldMk cId="4292939914" sldId="899"/>
        </pc:sldMkLst>
      </pc:sldChg>
      <pc:sldChg chg="mod modShow">
        <pc:chgData name="Henig, Sarit" userId="S::sarit.henig@mheducation.com::ad83c6bf-9a7d-4a88-b545-e6e8836bd6ee" providerId="AD" clId="Web-{113FB87F-3E2C-F4CF-CB1F-EF3A083B6AAA}" dt="2025-05-20T00:32:35.106" v="258"/>
        <pc:sldMkLst>
          <pc:docMk/>
          <pc:sldMk cId="1351692264" sldId="900"/>
        </pc:sldMkLst>
      </pc:sldChg>
      <pc:sldChg chg="modSp">
        <pc:chgData name="Henig, Sarit" userId="S::sarit.henig@mheducation.com::ad83c6bf-9a7d-4a88-b545-e6e8836bd6ee" providerId="AD" clId="Web-{113FB87F-3E2C-F4CF-CB1F-EF3A083B6AAA}" dt="2025-05-20T00:30:53.354" v="251"/>
        <pc:sldMkLst>
          <pc:docMk/>
          <pc:sldMk cId="246610043" sldId="902"/>
        </pc:sldMkLst>
      </pc:sldChg>
      <pc:sldChg chg="modSp">
        <pc:chgData name="Henig, Sarit" userId="S::sarit.henig@mheducation.com::ad83c6bf-9a7d-4a88-b545-e6e8836bd6ee" providerId="AD" clId="Web-{113FB87F-3E2C-F4CF-CB1F-EF3A083B6AAA}" dt="2025-05-20T00:02:14.199" v="117"/>
        <pc:sldMkLst>
          <pc:docMk/>
          <pc:sldMk cId="2352204780" sldId="907"/>
        </pc:sldMkLst>
        <pc:picChg chg="mod">
          <ac:chgData name="Henig, Sarit" userId="S::sarit.henig@mheducation.com::ad83c6bf-9a7d-4a88-b545-e6e8836bd6ee" providerId="AD" clId="Web-{113FB87F-3E2C-F4CF-CB1F-EF3A083B6AAA}" dt="2025-05-20T00:01:54.449" v="113"/>
          <ac:picMkLst>
            <pc:docMk/>
            <pc:sldMk cId="2352204780" sldId="907"/>
            <ac:picMk id="4" creationId="{87C413EC-DFE6-8E97-763B-6A458D13D6FF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02:14.199" v="117"/>
          <ac:picMkLst>
            <pc:docMk/>
            <pc:sldMk cId="2352204780" sldId="907"/>
            <ac:picMk id="11" creationId="{6526AF70-00EB-6272-9C69-35FECD9C6363}"/>
          </ac:picMkLst>
        </pc:picChg>
        <pc:picChg chg="mod">
          <ac:chgData name="Henig, Sarit" userId="S::sarit.henig@mheducation.com::ad83c6bf-9a7d-4a88-b545-e6e8836bd6ee" providerId="AD" clId="Web-{113FB87F-3E2C-F4CF-CB1F-EF3A083B6AAA}" dt="2025-05-20T00:02:11.464" v="116"/>
          <ac:picMkLst>
            <pc:docMk/>
            <pc:sldMk cId="2352204780" sldId="907"/>
            <ac:picMk id="14" creationId="{A296A8E8-78EB-8F12-DA69-3DB75E69C93E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20T00:20:27.843" v="199"/>
        <pc:sldMkLst>
          <pc:docMk/>
          <pc:sldMk cId="3676257074" sldId="910"/>
        </pc:sldMkLst>
      </pc:sldChg>
      <pc:sldChg chg="modSp">
        <pc:chgData name="Henig, Sarit" userId="S::sarit.henig@mheducation.com::ad83c6bf-9a7d-4a88-b545-e6e8836bd6ee" providerId="AD" clId="Web-{113FB87F-3E2C-F4CF-CB1F-EF3A083B6AAA}" dt="2025-05-20T00:20:39.031" v="200"/>
        <pc:sldMkLst>
          <pc:docMk/>
          <pc:sldMk cId="1705168920" sldId="911"/>
        </pc:sldMkLst>
      </pc:sldChg>
      <pc:sldChg chg="modSp">
        <pc:chgData name="Henig, Sarit" userId="S::sarit.henig@mheducation.com::ad83c6bf-9a7d-4a88-b545-e6e8836bd6ee" providerId="AD" clId="Web-{113FB87F-3E2C-F4CF-CB1F-EF3A083B6AAA}" dt="2025-05-20T00:20:48.016" v="201"/>
        <pc:sldMkLst>
          <pc:docMk/>
          <pc:sldMk cId="3079800789" sldId="912"/>
        </pc:sldMkLst>
      </pc:sldChg>
      <pc:sldChg chg="modSp">
        <pc:chgData name="Henig, Sarit" userId="S::sarit.henig@mheducation.com::ad83c6bf-9a7d-4a88-b545-e6e8836bd6ee" providerId="AD" clId="Web-{113FB87F-3E2C-F4CF-CB1F-EF3A083B6AAA}" dt="2025-05-20T00:20:58.188" v="202"/>
        <pc:sldMkLst>
          <pc:docMk/>
          <pc:sldMk cId="2197605600" sldId="913"/>
        </pc:sldMkLst>
      </pc:sldChg>
      <pc:sldChg chg="modSp">
        <pc:chgData name="Henig, Sarit" userId="S::sarit.henig@mheducation.com::ad83c6bf-9a7d-4a88-b545-e6e8836bd6ee" providerId="AD" clId="Web-{113FB87F-3E2C-F4CF-CB1F-EF3A083B6AAA}" dt="2025-05-20T00:31:01.636" v="252"/>
        <pc:sldMkLst>
          <pc:docMk/>
          <pc:sldMk cId="1586874608" sldId="914"/>
        </pc:sldMkLst>
      </pc:sldChg>
      <pc:sldChg chg="modSp">
        <pc:chgData name="Henig, Sarit" userId="S::sarit.henig@mheducation.com::ad83c6bf-9a7d-4a88-b545-e6e8836bd6ee" providerId="AD" clId="Web-{113FB87F-3E2C-F4CF-CB1F-EF3A083B6AAA}" dt="2025-05-20T00:31:08.542" v="253"/>
        <pc:sldMkLst>
          <pc:docMk/>
          <pc:sldMk cId="3935712624" sldId="915"/>
        </pc:sldMkLst>
      </pc:sldChg>
      <pc:sldChg chg="modSp">
        <pc:chgData name="Henig, Sarit" userId="S::sarit.henig@mheducation.com::ad83c6bf-9a7d-4a88-b545-e6e8836bd6ee" providerId="AD" clId="Web-{113FB87F-3E2C-F4CF-CB1F-EF3A083B6AAA}" dt="2025-05-20T00:31:17.933" v="254"/>
        <pc:sldMkLst>
          <pc:docMk/>
          <pc:sldMk cId="3366630344" sldId="916"/>
        </pc:sldMkLst>
      </pc:sldChg>
      <pc:sldChg chg="modSp">
        <pc:chgData name="Henig, Sarit" userId="S::sarit.henig@mheducation.com::ad83c6bf-9a7d-4a88-b545-e6e8836bd6ee" providerId="AD" clId="Web-{113FB87F-3E2C-F4CF-CB1F-EF3A083B6AAA}" dt="2025-05-20T00:31:28.433" v="255"/>
        <pc:sldMkLst>
          <pc:docMk/>
          <pc:sldMk cId="1000693420" sldId="917"/>
        </pc:sldMkLst>
      </pc:sldChg>
      <pc:sldChg chg="modSp">
        <pc:chgData name="Henig, Sarit" userId="S::sarit.henig@mheducation.com::ad83c6bf-9a7d-4a88-b545-e6e8836bd6ee" providerId="AD" clId="Web-{113FB87F-3E2C-F4CF-CB1F-EF3A083B6AAA}" dt="2025-05-20T00:31:43.324" v="257"/>
        <pc:sldMkLst>
          <pc:docMk/>
          <pc:sldMk cId="2499750345" sldId="918"/>
        </pc:sldMkLst>
      </pc:sldChg>
      <pc:sldChg chg="modSp">
        <pc:chgData name="Henig, Sarit" userId="S::sarit.henig@mheducation.com::ad83c6bf-9a7d-4a88-b545-e6e8836bd6ee" providerId="AD" clId="Web-{113FB87F-3E2C-F4CF-CB1F-EF3A083B6AAA}" dt="2025-05-19T23:49:01.997" v="13"/>
        <pc:sldMkLst>
          <pc:docMk/>
          <pc:sldMk cId="673178696" sldId="921"/>
        </pc:sldMkLst>
        <pc:picChg chg="mod">
          <ac:chgData name="Henig, Sarit" userId="S::sarit.henig@mheducation.com::ad83c6bf-9a7d-4a88-b545-e6e8836bd6ee" providerId="AD" clId="Web-{113FB87F-3E2C-F4CF-CB1F-EF3A083B6AAA}" dt="2025-05-19T23:49:01.997" v="13"/>
          <ac:picMkLst>
            <pc:docMk/>
            <pc:sldMk cId="673178696" sldId="921"/>
            <ac:picMk id="15" creationId="{4D7329B5-9022-32EB-171E-63A1E3CCA9A1}"/>
          </ac:picMkLst>
        </pc:picChg>
      </pc:sldChg>
      <pc:sldChg chg="modSp">
        <pc:chgData name="Henig, Sarit" userId="S::sarit.henig@mheducation.com::ad83c6bf-9a7d-4a88-b545-e6e8836bd6ee" providerId="AD" clId="Web-{113FB87F-3E2C-F4CF-CB1F-EF3A083B6AAA}" dt="2025-05-19T23:49:47.076" v="23"/>
        <pc:sldMkLst>
          <pc:docMk/>
          <pc:sldMk cId="1359325907" sldId="922"/>
        </pc:sldMkLst>
        <pc:picChg chg="mod">
          <ac:chgData name="Henig, Sarit" userId="S::sarit.henig@mheducation.com::ad83c6bf-9a7d-4a88-b545-e6e8836bd6ee" providerId="AD" clId="Web-{113FB87F-3E2C-F4CF-CB1F-EF3A083B6AAA}" dt="2025-05-19T23:49:47.076" v="23"/>
          <ac:picMkLst>
            <pc:docMk/>
            <pc:sldMk cId="1359325907" sldId="922"/>
            <ac:picMk id="7" creationId="{EE10A906-799B-8E13-E8B4-B8ECD06573B8}"/>
          </ac:picMkLst>
        </pc:picChg>
        <pc:picChg chg="mod">
          <ac:chgData name="Henig, Sarit" userId="S::sarit.henig@mheducation.com::ad83c6bf-9a7d-4a88-b545-e6e8836bd6ee" providerId="AD" clId="Web-{113FB87F-3E2C-F4CF-CB1F-EF3A083B6AAA}" dt="2025-05-19T23:49:24.966" v="20"/>
          <ac:picMkLst>
            <pc:docMk/>
            <pc:sldMk cId="1359325907" sldId="922"/>
            <ac:picMk id="10" creationId="{2BD7A65A-CB13-3540-19A1-A6F893A6D8CA}"/>
          </ac:picMkLst>
        </pc:picChg>
        <pc:picChg chg="mod">
          <ac:chgData name="Henig, Sarit" userId="S::sarit.henig@mheducation.com::ad83c6bf-9a7d-4a88-b545-e6e8836bd6ee" providerId="AD" clId="Web-{113FB87F-3E2C-F4CF-CB1F-EF3A083B6AAA}" dt="2025-05-19T23:49:35.889" v="22"/>
          <ac:picMkLst>
            <pc:docMk/>
            <pc:sldMk cId="1359325907" sldId="922"/>
            <ac:picMk id="12" creationId="{C72D5321-6A39-DE58-DBE9-530C5E8E8488}"/>
          </ac:picMkLst>
        </pc:picChg>
        <pc:picChg chg="mod">
          <ac:chgData name="Henig, Sarit" userId="S::sarit.henig@mheducation.com::ad83c6bf-9a7d-4a88-b545-e6e8836bd6ee" providerId="AD" clId="Web-{113FB87F-3E2C-F4CF-CB1F-EF3A083B6AAA}" dt="2025-05-19T23:49:10.216" v="14"/>
          <ac:picMkLst>
            <pc:docMk/>
            <pc:sldMk cId="1359325907" sldId="922"/>
            <ac:picMk id="20" creationId="{31BD18CA-E462-26DA-7134-B0B2AD11974C}"/>
          </ac:picMkLst>
        </pc:picChg>
      </pc:sldChg>
      <pc:sldChg chg="del mod modShow">
        <pc:chgData name="Henig, Sarit" userId="S::sarit.henig@mheducation.com::ad83c6bf-9a7d-4a88-b545-e6e8836bd6ee" providerId="AD" clId="Web-{113FB87F-3E2C-F4CF-CB1F-EF3A083B6AAA}" dt="2025-05-20T00:05:28.249" v="145"/>
        <pc:sldMkLst>
          <pc:docMk/>
          <pc:sldMk cId="1191358451" sldId="923"/>
        </pc:sldMkLst>
      </pc:sldChg>
      <pc:sldChg chg="del mod modShow">
        <pc:chgData name="Henig, Sarit" userId="S::sarit.henig@mheducation.com::ad83c6bf-9a7d-4a88-b545-e6e8836bd6ee" providerId="AD" clId="Web-{113FB87F-3E2C-F4CF-CB1F-EF3A083B6AAA}" dt="2025-05-20T00:06:09.062" v="148"/>
        <pc:sldMkLst>
          <pc:docMk/>
          <pc:sldMk cId="3652523263" sldId="924"/>
        </pc:sldMkLst>
      </pc:sldChg>
      <pc:sldChg chg="delSp modSp add">
        <pc:chgData name="Henig, Sarit" userId="S::sarit.henig@mheducation.com::ad83c6bf-9a7d-4a88-b545-e6e8836bd6ee" providerId="AD" clId="Web-{113FB87F-3E2C-F4CF-CB1F-EF3A083B6AAA}" dt="2025-05-20T00:05:09.593" v="144" actId="20577"/>
        <pc:sldMkLst>
          <pc:docMk/>
          <pc:sldMk cId="3846892035" sldId="925"/>
        </pc:sldMkLst>
      </pc:sldChg>
      <pc:sldChg chg="add del">
        <pc:chgData name="Henig, Sarit" userId="S::sarit.henig@mheducation.com::ad83c6bf-9a7d-4a88-b545-e6e8836bd6ee" providerId="AD" clId="Web-{113FB87F-3E2C-F4CF-CB1F-EF3A083B6AAA}" dt="2025-05-20T00:06:07.047" v="147"/>
        <pc:sldMkLst>
          <pc:docMk/>
          <pc:sldMk cId="2153619632" sldId="926"/>
        </pc:sldMkLst>
      </pc:sldChg>
      <pc:sldChg chg="delSp modSp add replId">
        <pc:chgData name="Henig, Sarit" userId="S::sarit.henig@mheducation.com::ad83c6bf-9a7d-4a88-b545-e6e8836bd6ee" providerId="AD" clId="Web-{113FB87F-3E2C-F4CF-CB1F-EF3A083B6AAA}" dt="2025-05-20T00:07:07.673" v="150"/>
        <pc:sldMkLst>
          <pc:docMk/>
          <pc:sldMk cId="320766787" sldId="927"/>
        </pc:sldMkLst>
      </pc:sldChg>
    </pc:docChg>
  </pc:docChgLst>
  <pc:docChgLst>
    <pc:chgData name="Henig, Sarit" userId="S::sarit.henig@mheducation.com::ad83c6bf-9a7d-4a88-b545-e6e8836bd6ee" providerId="AD" clId="Web-{1B264CB5-7010-614C-BCE4-D792C485F6AE}"/>
    <pc:docChg chg="modSld">
      <pc:chgData name="Henig, Sarit" userId="S::sarit.henig@mheducation.com::ad83c6bf-9a7d-4a88-b545-e6e8836bd6ee" providerId="AD" clId="Web-{1B264CB5-7010-614C-BCE4-D792C485F6AE}" dt="2025-05-21T21:03:26.583" v="0"/>
      <pc:docMkLst>
        <pc:docMk/>
      </pc:docMkLst>
      <pc:sldChg chg="delSp">
        <pc:chgData name="Henig, Sarit" userId="S::sarit.henig@mheducation.com::ad83c6bf-9a7d-4a88-b545-e6e8836bd6ee" providerId="AD" clId="Web-{1B264CB5-7010-614C-BCE4-D792C485F6AE}" dt="2025-05-21T21:03:26.583" v="0"/>
        <pc:sldMkLst>
          <pc:docMk/>
          <pc:sldMk cId="2352204780" sldId="907"/>
        </pc:sldMkLst>
        <pc:grpChg chg="del">
          <ac:chgData name="Henig, Sarit" userId="S::sarit.henig@mheducation.com::ad83c6bf-9a7d-4a88-b545-e6e8836bd6ee" providerId="AD" clId="Web-{1B264CB5-7010-614C-BCE4-D792C485F6AE}" dt="2025-05-21T21:03:26.583" v="0"/>
          <ac:grpSpMkLst>
            <pc:docMk/>
            <pc:sldMk cId="2352204780" sldId="907"/>
            <ac:grpSpMk id="20" creationId="{A77C16B1-670C-3BBD-F1A4-E29A6112C429}"/>
          </ac:grpSpMkLst>
        </pc:grpChg>
      </pc:sldChg>
    </pc:docChg>
  </pc:docChgLst>
  <pc:docChgLst>
    <pc:chgData name="Henig, Sarit" userId="S::sarit.henig@mheducation.com::ad83c6bf-9a7d-4a88-b545-e6e8836bd6ee" providerId="AD" clId="Web-{299EEBDD-DCD7-7374-261E-745D3EC359DF}"/>
    <pc:docChg chg="modSld">
      <pc:chgData name="Henig, Sarit" userId="S::sarit.henig@mheducation.com::ad83c6bf-9a7d-4a88-b545-e6e8836bd6ee" providerId="AD" clId="Web-{299EEBDD-DCD7-7374-261E-745D3EC359DF}" dt="2025-05-20T00:30:11.842" v="0" actId="1076"/>
      <pc:docMkLst>
        <pc:docMk/>
      </pc:docMkLst>
      <pc:sldChg chg="modSp">
        <pc:chgData name="Henig, Sarit" userId="S::sarit.henig@mheducation.com::ad83c6bf-9a7d-4a88-b545-e6e8836bd6ee" providerId="AD" clId="Web-{299EEBDD-DCD7-7374-261E-745D3EC359DF}" dt="2025-05-20T00:30:11.842" v="0" actId="1076"/>
        <pc:sldMkLst>
          <pc:docMk/>
          <pc:sldMk cId="1345630900" sldId="886"/>
        </pc:sldMkLst>
        <pc:picChg chg="mod">
          <ac:chgData name="Henig, Sarit" userId="S::sarit.henig@mheducation.com::ad83c6bf-9a7d-4a88-b545-e6e8836bd6ee" providerId="AD" clId="Web-{299EEBDD-DCD7-7374-261E-745D3EC359DF}" dt="2025-05-20T00:30:11.842" v="0" actId="1076"/>
          <ac:picMkLst>
            <pc:docMk/>
            <pc:sldMk cId="1345630900" sldId="886"/>
            <ac:picMk id="12" creationId="{64124D77-4556-1A1B-AD75-EF7071311923}"/>
          </ac:picMkLst>
        </pc:picChg>
      </pc:sldChg>
    </pc:docChg>
  </pc:docChgLst>
  <pc:docChgLst>
    <pc:chgData name="Henig, Sarit" userId="S::sarit.henig@mheducation.com::ad83c6bf-9a7d-4a88-b545-e6e8836bd6ee" providerId="AD" clId="Web-{B143DF04-A05B-A49F-E379-C1BFF10819C9}"/>
    <pc:docChg chg="delSld modSld addSection delSection modSection">
      <pc:chgData name="Henig, Sarit" userId="S::sarit.henig@mheducation.com::ad83c6bf-9a7d-4a88-b545-e6e8836bd6ee" providerId="AD" clId="Web-{B143DF04-A05B-A49F-E379-C1BFF10819C9}" dt="2025-05-20T16:34:42.575" v="63" actId="20577"/>
      <pc:docMkLst>
        <pc:docMk/>
      </pc:docMkLst>
      <pc:sldChg chg="modSp">
        <pc:chgData name="Henig, Sarit" userId="S::sarit.henig@mheducation.com::ad83c6bf-9a7d-4a88-b545-e6e8836bd6ee" providerId="AD" clId="Web-{B143DF04-A05B-A49F-E379-C1BFF10819C9}" dt="2025-05-20T16:34:42.575" v="63" actId="20577"/>
        <pc:sldMkLst>
          <pc:docMk/>
          <pc:sldMk cId="2979897700" sldId="727"/>
        </pc:sldMkLst>
        <pc:spChg chg="mod">
          <ac:chgData name="Henig, Sarit" userId="S::sarit.henig@mheducation.com::ad83c6bf-9a7d-4a88-b545-e6e8836bd6ee" providerId="AD" clId="Web-{B143DF04-A05B-A49F-E379-C1BFF10819C9}" dt="2025-05-20T16:34:42.575" v="63" actId="20577"/>
          <ac:spMkLst>
            <pc:docMk/>
            <pc:sldMk cId="2979897700" sldId="727"/>
            <ac:spMk id="6" creationId="{067892B8-AB1F-0462-871B-2BFA44332D41}"/>
          </ac:spMkLst>
        </pc:spChg>
      </pc:sldChg>
      <pc:sldChg chg="del">
        <pc:chgData name="Henig, Sarit" userId="S::sarit.henig@mheducation.com::ad83c6bf-9a7d-4a88-b545-e6e8836bd6ee" providerId="AD" clId="Web-{B143DF04-A05B-A49F-E379-C1BFF10819C9}" dt="2025-05-20T16:30:07.197" v="31"/>
        <pc:sldMkLst>
          <pc:docMk/>
          <pc:sldMk cId="1413674220" sldId="751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666" v="34"/>
        <pc:sldMkLst>
          <pc:docMk/>
          <pc:sldMk cId="1038033158" sldId="812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666" v="33"/>
        <pc:sldMkLst>
          <pc:docMk/>
          <pc:sldMk cId="1525594926" sldId="813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885" v="39"/>
        <pc:sldMkLst>
          <pc:docMk/>
          <pc:sldMk cId="2127015796" sldId="834"/>
        </pc:sldMkLst>
      </pc:sldChg>
      <pc:sldChg chg="del">
        <pc:chgData name="Henig, Sarit" userId="S::sarit.henig@mheducation.com::ad83c6bf-9a7d-4a88-b545-e6e8836bd6ee" providerId="AD" clId="Web-{B143DF04-A05B-A49F-E379-C1BFF10819C9}" dt="2025-05-20T16:29:45.040" v="3"/>
        <pc:sldMkLst>
          <pc:docMk/>
          <pc:sldMk cId="2968494876" sldId="842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81" v="24"/>
        <pc:sldMkLst>
          <pc:docMk/>
          <pc:sldMk cId="52177719" sldId="843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81" v="23"/>
        <pc:sldMkLst>
          <pc:docMk/>
          <pc:sldMk cId="3431343996" sldId="844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65" v="18"/>
        <pc:sldMkLst>
          <pc:docMk/>
          <pc:sldMk cId="2279243532" sldId="845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81" v="22"/>
        <pc:sldMkLst>
          <pc:docMk/>
          <pc:sldMk cId="3793010207" sldId="846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81" v="21"/>
        <pc:sldMkLst>
          <pc:docMk/>
          <pc:sldMk cId="3662818759" sldId="847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81" v="20"/>
        <pc:sldMkLst>
          <pc:docMk/>
          <pc:sldMk cId="2335909723" sldId="848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65" v="19"/>
        <pc:sldMkLst>
          <pc:docMk/>
          <pc:sldMk cId="1238119260" sldId="849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65" v="17"/>
        <pc:sldMkLst>
          <pc:docMk/>
          <pc:sldMk cId="45507541" sldId="851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65" v="16"/>
        <pc:sldMkLst>
          <pc:docMk/>
          <pc:sldMk cId="1056654386" sldId="852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50" v="14"/>
        <pc:sldMkLst>
          <pc:docMk/>
          <pc:sldMk cId="666288661" sldId="853"/>
        </pc:sldMkLst>
      </pc:sldChg>
      <pc:sldChg chg="del">
        <pc:chgData name="Henig, Sarit" userId="S::sarit.henig@mheducation.com::ad83c6bf-9a7d-4a88-b545-e6e8836bd6ee" providerId="AD" clId="Web-{B143DF04-A05B-A49F-E379-C1BFF10819C9}" dt="2025-05-20T16:29:46.009" v="4"/>
        <pc:sldMkLst>
          <pc:docMk/>
          <pc:sldMk cId="2107797622" sldId="856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97" v="29"/>
        <pc:sldMkLst>
          <pc:docMk/>
          <pc:sldMk cId="1218129453" sldId="864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97" v="30"/>
        <pc:sldMkLst>
          <pc:docMk/>
          <pc:sldMk cId="2554045213" sldId="865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97" v="27"/>
        <pc:sldMkLst>
          <pc:docMk/>
          <pc:sldMk cId="1232343035" sldId="868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97" v="28"/>
        <pc:sldMkLst>
          <pc:docMk/>
          <pc:sldMk cId="3002227915" sldId="870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666" v="32"/>
        <pc:sldMkLst>
          <pc:docMk/>
          <pc:sldMk cId="3876605206" sldId="879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65" v="15"/>
        <pc:sldMkLst>
          <pc:docMk/>
          <pc:sldMk cId="175665335" sldId="885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50" v="13"/>
        <pc:sldMkLst>
          <pc:docMk/>
          <pc:sldMk cId="2955950541" sldId="887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50" v="12"/>
        <pc:sldMkLst>
          <pc:docMk/>
          <pc:sldMk cId="1760704136" sldId="888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885" v="43"/>
        <pc:sldMkLst>
          <pc:docMk/>
          <pc:sldMk cId="2687483951" sldId="891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885" v="40"/>
        <pc:sldMkLst>
          <pc:docMk/>
          <pc:sldMk cId="640699691" sldId="892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885" v="41"/>
        <pc:sldMkLst>
          <pc:docMk/>
          <pc:sldMk cId="2055400002" sldId="895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885" v="42"/>
        <pc:sldMkLst>
          <pc:docMk/>
          <pc:sldMk cId="319337914" sldId="896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19" v="5"/>
        <pc:sldMkLst>
          <pc:docMk/>
          <pc:sldMk cId="1576159621" sldId="897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19" v="6"/>
        <pc:sldMkLst>
          <pc:docMk/>
          <pc:sldMk cId="4292939914" sldId="899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681" v="38"/>
        <pc:sldMkLst>
          <pc:docMk/>
          <pc:sldMk cId="3676257074" sldId="910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681" v="37"/>
        <pc:sldMkLst>
          <pc:docMk/>
          <pc:sldMk cId="1705168920" sldId="911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681" v="36"/>
        <pc:sldMkLst>
          <pc:docMk/>
          <pc:sldMk cId="3079800789" sldId="912"/>
        </pc:sldMkLst>
      </pc:sldChg>
      <pc:sldChg chg="del">
        <pc:chgData name="Henig, Sarit" userId="S::sarit.henig@mheducation.com::ad83c6bf-9a7d-4a88-b545-e6e8836bd6ee" providerId="AD" clId="Web-{B143DF04-A05B-A49F-E379-C1BFF10819C9}" dt="2025-05-20T16:30:44.666" v="35"/>
        <pc:sldMkLst>
          <pc:docMk/>
          <pc:sldMk cId="2197605600" sldId="913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34" v="11"/>
        <pc:sldMkLst>
          <pc:docMk/>
          <pc:sldMk cId="1586874608" sldId="914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34" v="10"/>
        <pc:sldMkLst>
          <pc:docMk/>
          <pc:sldMk cId="3935712624" sldId="915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34" v="9"/>
        <pc:sldMkLst>
          <pc:docMk/>
          <pc:sldMk cId="3366630344" sldId="916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34" v="8"/>
        <pc:sldMkLst>
          <pc:docMk/>
          <pc:sldMk cId="1000693420" sldId="917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34" v="7"/>
        <pc:sldMkLst>
          <pc:docMk/>
          <pc:sldMk cId="2499750345" sldId="918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97" v="26"/>
        <pc:sldMkLst>
          <pc:docMk/>
          <pc:sldMk cId="3846892035" sldId="925"/>
        </pc:sldMkLst>
      </pc:sldChg>
      <pc:sldChg chg="del">
        <pc:chgData name="Henig, Sarit" userId="S::sarit.henig@mheducation.com::ad83c6bf-9a7d-4a88-b545-e6e8836bd6ee" providerId="AD" clId="Web-{B143DF04-A05B-A49F-E379-C1BFF10819C9}" dt="2025-05-20T16:30:07.181" v="25"/>
        <pc:sldMkLst>
          <pc:docMk/>
          <pc:sldMk cId="320766787" sldId="927"/>
        </pc:sldMkLst>
      </pc:sldChg>
    </pc:docChg>
  </pc:docChgLst>
  <pc:docChgLst>
    <pc:chgData name="Henig, Sarit" userId="S::sarit.henig@mheducation.com::ad83c6bf-9a7d-4a88-b545-e6e8836bd6ee" providerId="AD" clId="Web-{8F148A2E-FF69-BCC1-EC09-22DCA264EC3F}"/>
    <pc:docChg chg="delSld modSld delSection modSection">
      <pc:chgData name="Henig, Sarit" userId="S::sarit.henig@mheducation.com::ad83c6bf-9a7d-4a88-b545-e6e8836bd6ee" providerId="AD" clId="Web-{8F148A2E-FF69-BCC1-EC09-22DCA264EC3F}" dt="2025-05-21T20:52:07.600" v="81" actId="20577"/>
      <pc:docMkLst>
        <pc:docMk/>
      </pc:docMkLst>
      <pc:sldChg chg="modSp">
        <pc:chgData name="Henig, Sarit" userId="S::sarit.henig@mheducation.com::ad83c6bf-9a7d-4a88-b545-e6e8836bd6ee" providerId="AD" clId="Web-{8F148A2E-FF69-BCC1-EC09-22DCA264EC3F}" dt="2025-05-21T20:52:07.600" v="81" actId="20577"/>
        <pc:sldMkLst>
          <pc:docMk/>
          <pc:sldMk cId="2979897700" sldId="727"/>
        </pc:sldMkLst>
        <pc:spChg chg="mod">
          <ac:chgData name="Henig, Sarit" userId="S::sarit.henig@mheducation.com::ad83c6bf-9a7d-4a88-b545-e6e8836bd6ee" providerId="AD" clId="Web-{8F148A2E-FF69-BCC1-EC09-22DCA264EC3F}" dt="2025-05-21T20:52:07.600" v="81" actId="20577"/>
          <ac:spMkLst>
            <pc:docMk/>
            <pc:sldMk cId="2979897700" sldId="727"/>
            <ac:spMk id="4" creationId="{FC5483EE-6588-8FB8-5E2B-7BC513C15E55}"/>
          </ac:spMkLst>
        </pc:spChg>
        <pc:spChg chg="mod">
          <ac:chgData name="Henig, Sarit" userId="S::sarit.henig@mheducation.com::ad83c6bf-9a7d-4a88-b545-e6e8836bd6ee" providerId="AD" clId="Web-{8F148A2E-FF69-BCC1-EC09-22DCA264EC3F}" dt="2025-05-21T20:47:43.830" v="72" actId="20577"/>
          <ac:spMkLst>
            <pc:docMk/>
            <pc:sldMk cId="2979897700" sldId="727"/>
            <ac:spMk id="6" creationId="{067892B8-AB1F-0462-871B-2BFA44332D41}"/>
          </ac:spMkLst>
        </pc:spChg>
      </pc:sldChg>
      <pc:sldChg chg="del mod modShow">
        <pc:chgData name="Henig, Sarit" userId="S::sarit.henig@mheducation.com::ad83c6bf-9a7d-4a88-b545-e6e8836bd6ee" providerId="AD" clId="Web-{8F148A2E-FF69-BCC1-EC09-22DCA264EC3F}" dt="2025-05-21T20:44:56.130" v="58"/>
        <pc:sldMkLst>
          <pc:docMk/>
          <pc:sldMk cId="3611646180" sldId="769"/>
        </pc:sldMkLst>
      </pc:sldChg>
      <pc:sldChg chg="del">
        <pc:chgData name="Henig, Sarit" userId="S::sarit.henig@mheducation.com::ad83c6bf-9a7d-4a88-b545-e6e8836bd6ee" providerId="AD" clId="Web-{8F148A2E-FF69-BCC1-EC09-22DCA264EC3F}" dt="2025-05-21T20:42:57.949" v="36"/>
        <pc:sldMkLst>
          <pc:docMk/>
          <pc:sldMk cId="1701959421" sldId="770"/>
        </pc:sldMkLst>
      </pc:sldChg>
      <pc:sldChg chg="del">
        <pc:chgData name="Henig, Sarit" userId="S::sarit.henig@mheducation.com::ad83c6bf-9a7d-4a88-b545-e6e8836bd6ee" providerId="AD" clId="Web-{8F148A2E-FF69-BCC1-EC09-22DCA264EC3F}" dt="2025-05-21T20:42:57.934" v="35"/>
        <pc:sldMkLst>
          <pc:docMk/>
          <pc:sldMk cId="3288097003" sldId="773"/>
        </pc:sldMkLst>
      </pc:sldChg>
      <pc:sldChg chg="del">
        <pc:chgData name="Henig, Sarit" userId="S::sarit.henig@mheducation.com::ad83c6bf-9a7d-4a88-b545-e6e8836bd6ee" providerId="AD" clId="Web-{8F148A2E-FF69-BCC1-EC09-22DCA264EC3F}" dt="2025-05-21T20:42:57.934" v="34"/>
        <pc:sldMkLst>
          <pc:docMk/>
          <pc:sldMk cId="1631459619" sldId="774"/>
        </pc:sldMkLst>
      </pc:sldChg>
      <pc:sldChg chg="del">
        <pc:chgData name="Henig, Sarit" userId="S::sarit.henig@mheducation.com::ad83c6bf-9a7d-4a88-b545-e6e8836bd6ee" providerId="AD" clId="Web-{8F148A2E-FF69-BCC1-EC09-22DCA264EC3F}" dt="2025-05-21T20:42:57.918" v="30"/>
        <pc:sldMkLst>
          <pc:docMk/>
          <pc:sldMk cId="4205446664" sldId="775"/>
        </pc:sldMkLst>
      </pc:sldChg>
      <pc:sldChg chg="del">
        <pc:chgData name="Henig, Sarit" userId="S::sarit.henig@mheducation.com::ad83c6bf-9a7d-4a88-b545-e6e8836bd6ee" providerId="AD" clId="Web-{8F148A2E-FF69-BCC1-EC09-22DCA264EC3F}" dt="2025-05-21T20:37:02.360" v="13"/>
        <pc:sldMkLst>
          <pc:docMk/>
          <pc:sldMk cId="820621749" sldId="801"/>
        </pc:sldMkLst>
      </pc:sldChg>
      <pc:sldChg chg="del mod modShow">
        <pc:chgData name="Henig, Sarit" userId="S::sarit.henig@mheducation.com::ad83c6bf-9a7d-4a88-b545-e6e8836bd6ee" providerId="AD" clId="Web-{8F148A2E-FF69-BCC1-EC09-22DCA264EC3F}" dt="2025-05-21T20:44:57.099" v="59"/>
        <pc:sldMkLst>
          <pc:docMk/>
          <pc:sldMk cId="143937462" sldId="807"/>
        </pc:sldMkLst>
      </pc:sldChg>
      <pc:sldChg chg="del">
        <pc:chgData name="Henig, Sarit" userId="S::sarit.henig@mheducation.com::ad83c6bf-9a7d-4a88-b545-e6e8836bd6ee" providerId="AD" clId="Web-{8F148A2E-FF69-BCC1-EC09-22DCA264EC3F}" dt="2025-05-21T20:42:57.934" v="33"/>
        <pc:sldMkLst>
          <pc:docMk/>
          <pc:sldMk cId="451818725" sldId="819"/>
        </pc:sldMkLst>
      </pc:sldChg>
      <pc:sldChg chg="del">
        <pc:chgData name="Henig, Sarit" userId="S::sarit.henig@mheducation.com::ad83c6bf-9a7d-4a88-b545-e6e8836bd6ee" providerId="AD" clId="Web-{8F148A2E-FF69-BCC1-EC09-22DCA264EC3F}" dt="2025-05-21T20:42:57.918" v="32"/>
        <pc:sldMkLst>
          <pc:docMk/>
          <pc:sldMk cId="2348071683" sldId="821"/>
        </pc:sldMkLst>
      </pc:sldChg>
      <pc:sldChg chg="del">
        <pc:chgData name="Henig, Sarit" userId="S::sarit.henig@mheducation.com::ad83c6bf-9a7d-4a88-b545-e6e8836bd6ee" providerId="AD" clId="Web-{8F148A2E-FF69-BCC1-EC09-22DCA264EC3F}" dt="2025-05-21T20:42:57.918" v="29"/>
        <pc:sldMkLst>
          <pc:docMk/>
          <pc:sldMk cId="420987227" sldId="822"/>
        </pc:sldMkLst>
      </pc:sldChg>
      <pc:sldChg chg="modSp">
        <pc:chgData name="Henig, Sarit" userId="S::sarit.henig@mheducation.com::ad83c6bf-9a7d-4a88-b545-e6e8836bd6ee" providerId="AD" clId="Web-{8F148A2E-FF69-BCC1-EC09-22DCA264EC3F}" dt="2025-05-21T20:44:28.097" v="55" actId="20577"/>
        <pc:sldMkLst>
          <pc:docMk/>
          <pc:sldMk cId="2659409275" sldId="830"/>
        </pc:sldMkLst>
        <pc:spChg chg="mod">
          <ac:chgData name="Henig, Sarit" userId="S::sarit.henig@mheducation.com::ad83c6bf-9a7d-4a88-b545-e6e8836bd6ee" providerId="AD" clId="Web-{8F148A2E-FF69-BCC1-EC09-22DCA264EC3F}" dt="2025-05-21T20:44:28.097" v="55" actId="20577"/>
          <ac:spMkLst>
            <pc:docMk/>
            <pc:sldMk cId="2659409275" sldId="830"/>
            <ac:spMk id="13" creationId="{EEA66A1F-AB04-9744-8BCF-BC5DA997EF21}"/>
          </ac:spMkLst>
        </pc:spChg>
      </pc:sldChg>
      <pc:sldChg chg="del">
        <pc:chgData name="Henig, Sarit" userId="S::sarit.henig@mheducation.com::ad83c6bf-9a7d-4a88-b545-e6e8836bd6ee" providerId="AD" clId="Web-{8F148A2E-FF69-BCC1-EC09-22DCA264EC3F}" dt="2025-05-21T20:43:34.593" v="42"/>
        <pc:sldMkLst>
          <pc:docMk/>
          <pc:sldMk cId="3403901250" sldId="831"/>
        </pc:sldMkLst>
      </pc:sldChg>
      <pc:sldChg chg="del">
        <pc:chgData name="Henig, Sarit" userId="S::sarit.henig@mheducation.com::ad83c6bf-9a7d-4a88-b545-e6e8836bd6ee" providerId="AD" clId="Web-{8F148A2E-FF69-BCC1-EC09-22DCA264EC3F}" dt="2025-05-21T20:42:57.949" v="37"/>
        <pc:sldMkLst>
          <pc:docMk/>
          <pc:sldMk cId="1941400855" sldId="833"/>
        </pc:sldMkLst>
      </pc:sldChg>
      <pc:sldChg chg="del">
        <pc:chgData name="Henig, Sarit" userId="S::sarit.henig@mheducation.com::ad83c6bf-9a7d-4a88-b545-e6e8836bd6ee" providerId="AD" clId="Web-{8F148A2E-FF69-BCC1-EC09-22DCA264EC3F}" dt="2025-05-21T20:43:34.014" v="41"/>
        <pc:sldMkLst>
          <pc:docMk/>
          <pc:sldMk cId="1020506784" sldId="835"/>
        </pc:sldMkLst>
      </pc:sldChg>
      <pc:sldChg chg="del">
        <pc:chgData name="Henig, Sarit" userId="S::sarit.henig@mheducation.com::ad83c6bf-9a7d-4a88-b545-e6e8836bd6ee" providerId="AD" clId="Web-{8F148A2E-FF69-BCC1-EC09-22DCA264EC3F}" dt="2025-05-21T20:43:36.843" v="43"/>
        <pc:sldMkLst>
          <pc:docMk/>
          <pc:sldMk cId="1950814340" sldId="862"/>
        </pc:sldMkLst>
      </pc:sldChg>
      <pc:sldChg chg="modSp">
        <pc:chgData name="Henig, Sarit" userId="S::sarit.henig@mheducation.com::ad83c6bf-9a7d-4a88-b545-e6e8836bd6ee" providerId="AD" clId="Web-{8F148A2E-FF69-BCC1-EC09-22DCA264EC3F}" dt="2025-05-21T20:44:17.815" v="47" actId="20577"/>
        <pc:sldMkLst>
          <pc:docMk/>
          <pc:sldMk cId="572236885" sldId="863"/>
        </pc:sldMkLst>
        <pc:spChg chg="mod">
          <ac:chgData name="Henig, Sarit" userId="S::sarit.henig@mheducation.com::ad83c6bf-9a7d-4a88-b545-e6e8836bd6ee" providerId="AD" clId="Web-{8F148A2E-FF69-BCC1-EC09-22DCA264EC3F}" dt="2025-05-21T20:44:17.815" v="47" actId="20577"/>
          <ac:spMkLst>
            <pc:docMk/>
            <pc:sldMk cId="572236885" sldId="863"/>
            <ac:spMk id="13" creationId="{6B941393-78B7-54EF-512E-227DB1DE7352}"/>
          </ac:spMkLst>
        </pc:spChg>
      </pc:sldChg>
      <pc:sldChg chg="del">
        <pc:chgData name="Henig, Sarit" userId="S::sarit.henig@mheducation.com::ad83c6bf-9a7d-4a88-b545-e6e8836bd6ee" providerId="AD" clId="Web-{8F148A2E-FF69-BCC1-EC09-22DCA264EC3F}" dt="2025-05-21T20:42:57.918" v="31"/>
        <pc:sldMkLst>
          <pc:docMk/>
          <pc:sldMk cId="33280532" sldId="871"/>
        </pc:sldMkLst>
      </pc:sldChg>
      <pc:sldChg chg="del">
        <pc:chgData name="Henig, Sarit" userId="S::sarit.henig@mheducation.com::ad83c6bf-9a7d-4a88-b545-e6e8836bd6ee" providerId="AD" clId="Web-{8F148A2E-FF69-BCC1-EC09-22DCA264EC3F}" dt="2025-05-21T20:43:17.029" v="40"/>
        <pc:sldMkLst>
          <pc:docMk/>
          <pc:sldMk cId="1160179768" sldId="875"/>
        </pc:sldMkLst>
      </pc:sldChg>
      <pc:sldChg chg="del">
        <pc:chgData name="Henig, Sarit" userId="S::sarit.henig@mheducation.com::ad83c6bf-9a7d-4a88-b545-e6e8836bd6ee" providerId="AD" clId="Web-{8F148A2E-FF69-BCC1-EC09-22DCA264EC3F}" dt="2025-05-21T20:43:16.138" v="39"/>
        <pc:sldMkLst>
          <pc:docMk/>
          <pc:sldMk cId="371553013" sldId="876"/>
        </pc:sldMkLst>
      </pc:sldChg>
      <pc:sldChg chg="del">
        <pc:chgData name="Henig, Sarit" userId="S::sarit.henig@mheducation.com::ad83c6bf-9a7d-4a88-b545-e6e8836bd6ee" providerId="AD" clId="Web-{8F148A2E-FF69-BCC1-EC09-22DCA264EC3F}" dt="2025-05-21T20:43:14.294" v="38"/>
        <pc:sldMkLst>
          <pc:docMk/>
          <pc:sldMk cId="1101454747" sldId="878"/>
        </pc:sldMkLst>
      </pc:sldChg>
      <pc:sldChg chg="modSp">
        <pc:chgData name="Henig, Sarit" userId="S::sarit.henig@mheducation.com::ad83c6bf-9a7d-4a88-b545-e6e8836bd6ee" providerId="AD" clId="Web-{8F148A2E-FF69-BCC1-EC09-22DCA264EC3F}" dt="2025-05-21T20:51:29.176" v="77" actId="20577"/>
        <pc:sldMkLst>
          <pc:docMk/>
          <pc:sldMk cId="2352204780" sldId="907"/>
        </pc:sldMkLst>
        <pc:spChg chg="mod">
          <ac:chgData name="Henig, Sarit" userId="S::sarit.henig@mheducation.com::ad83c6bf-9a7d-4a88-b545-e6e8836bd6ee" providerId="AD" clId="Web-{8F148A2E-FF69-BCC1-EC09-22DCA264EC3F}" dt="2025-05-21T20:51:29.176" v="77" actId="20577"/>
          <ac:spMkLst>
            <pc:docMk/>
            <pc:sldMk cId="2352204780" sldId="907"/>
            <ac:spMk id="10" creationId="{19C3C409-5836-B155-D0DA-9EF618E5A3FD}"/>
          </ac:spMkLst>
        </pc:spChg>
      </pc:sldChg>
    </pc:docChg>
  </pc:docChgLst>
  <pc:docChgLst>
    <pc:chgData name="Henig, Sarit" userId="S::sarit.henig@mheducation.com::ad83c6bf-9a7d-4a88-b545-e6e8836bd6ee" providerId="AD" clId="Web-{D72FB91F-502E-FA2A-7824-5181B93C5199}"/>
    <pc:docChg chg="delSld modSld sldOrd modSection">
      <pc:chgData name="Henig, Sarit" userId="S::sarit.henig@mheducation.com::ad83c6bf-9a7d-4a88-b545-e6e8836bd6ee" providerId="AD" clId="Web-{D72FB91F-502E-FA2A-7824-5181B93C5199}" dt="2025-05-20T16:07:06.892" v="64"/>
      <pc:docMkLst>
        <pc:docMk/>
      </pc:docMkLst>
      <pc:sldChg chg="modSp">
        <pc:chgData name="Henig, Sarit" userId="S::sarit.henig@mheducation.com::ad83c6bf-9a7d-4a88-b545-e6e8836bd6ee" providerId="AD" clId="Web-{D72FB91F-502E-FA2A-7824-5181B93C5199}" dt="2025-05-20T15:30:45.196" v="22"/>
        <pc:sldMkLst>
          <pc:docMk/>
          <pc:sldMk cId="2659409275" sldId="830"/>
        </pc:sldMkLst>
        <pc:picChg chg="mod">
          <ac:chgData name="Henig, Sarit" userId="S::sarit.henig@mheducation.com::ad83c6bf-9a7d-4a88-b545-e6e8836bd6ee" providerId="AD" clId="Web-{D72FB91F-502E-FA2A-7824-5181B93C5199}" dt="2025-05-20T15:30:40.461" v="20"/>
          <ac:picMkLst>
            <pc:docMk/>
            <pc:sldMk cId="2659409275" sldId="830"/>
            <ac:picMk id="6" creationId="{C98E3267-1366-3737-FC75-06C918A0D404}"/>
          </ac:picMkLst>
        </pc:picChg>
        <pc:picChg chg="mod">
          <ac:chgData name="Henig, Sarit" userId="S::sarit.henig@mheducation.com::ad83c6bf-9a7d-4a88-b545-e6e8836bd6ee" providerId="AD" clId="Web-{D72FB91F-502E-FA2A-7824-5181B93C5199}" dt="2025-05-20T15:30:45.196" v="22"/>
          <ac:picMkLst>
            <pc:docMk/>
            <pc:sldMk cId="2659409275" sldId="830"/>
            <ac:picMk id="10" creationId="{FD1BC754-F213-B3DE-5D98-37E33D528607}"/>
          </ac:picMkLst>
        </pc:picChg>
        <pc:picChg chg="mod">
          <ac:chgData name="Henig, Sarit" userId="S::sarit.henig@mheducation.com::ad83c6bf-9a7d-4a88-b545-e6e8836bd6ee" providerId="AD" clId="Web-{D72FB91F-502E-FA2A-7824-5181B93C5199}" dt="2025-05-20T15:30:37.055" v="19"/>
          <ac:picMkLst>
            <pc:docMk/>
            <pc:sldMk cId="2659409275" sldId="830"/>
            <ac:picMk id="14" creationId="{E35856B0-0EC7-0B8A-ADEE-DC55B78D0284}"/>
          </ac:picMkLst>
        </pc:picChg>
      </pc:sldChg>
      <pc:sldChg chg="modSp">
        <pc:chgData name="Henig, Sarit" userId="S::sarit.henig@mheducation.com::ad83c6bf-9a7d-4a88-b545-e6e8836bd6ee" providerId="AD" clId="Web-{D72FB91F-502E-FA2A-7824-5181B93C5199}" dt="2025-05-20T15:29:52.993" v="9"/>
        <pc:sldMkLst>
          <pc:docMk/>
          <pc:sldMk cId="3403901250" sldId="831"/>
        </pc:sldMkLst>
      </pc:sldChg>
      <pc:sldChg chg="modSp">
        <pc:chgData name="Henig, Sarit" userId="S::sarit.henig@mheducation.com::ad83c6bf-9a7d-4a88-b545-e6e8836bd6ee" providerId="AD" clId="Web-{D72FB91F-502E-FA2A-7824-5181B93C5199}" dt="2025-05-20T16:02:37.082" v="36" actId="20577"/>
        <pc:sldMkLst>
          <pc:docMk/>
          <pc:sldMk cId="3431343996" sldId="844"/>
        </pc:sldMkLst>
      </pc:sldChg>
      <pc:sldChg chg="modSp">
        <pc:chgData name="Henig, Sarit" userId="S::sarit.henig@mheducation.com::ad83c6bf-9a7d-4a88-b545-e6e8836bd6ee" providerId="AD" clId="Web-{D72FB91F-502E-FA2A-7824-5181B93C5199}" dt="2025-05-20T16:02:51.582" v="41" actId="20577"/>
        <pc:sldMkLst>
          <pc:docMk/>
          <pc:sldMk cId="2279243532" sldId="845"/>
        </pc:sldMkLst>
      </pc:sldChg>
      <pc:sldChg chg="modSp">
        <pc:chgData name="Henig, Sarit" userId="S::sarit.henig@mheducation.com::ad83c6bf-9a7d-4a88-b545-e6e8836bd6ee" providerId="AD" clId="Web-{D72FB91F-502E-FA2A-7824-5181B93C5199}" dt="2025-05-20T16:02:39.395" v="37" actId="20577"/>
        <pc:sldMkLst>
          <pc:docMk/>
          <pc:sldMk cId="3793010207" sldId="846"/>
        </pc:sldMkLst>
      </pc:sldChg>
      <pc:sldChg chg="modSp">
        <pc:chgData name="Henig, Sarit" userId="S::sarit.henig@mheducation.com::ad83c6bf-9a7d-4a88-b545-e6e8836bd6ee" providerId="AD" clId="Web-{D72FB91F-502E-FA2A-7824-5181B93C5199}" dt="2025-05-20T16:02:42.582" v="38" actId="20577"/>
        <pc:sldMkLst>
          <pc:docMk/>
          <pc:sldMk cId="3662818759" sldId="847"/>
        </pc:sldMkLst>
      </pc:sldChg>
      <pc:sldChg chg="modSp">
        <pc:chgData name="Henig, Sarit" userId="S::sarit.henig@mheducation.com::ad83c6bf-9a7d-4a88-b545-e6e8836bd6ee" providerId="AD" clId="Web-{D72FB91F-502E-FA2A-7824-5181B93C5199}" dt="2025-05-20T16:02:45.613" v="39" actId="20577"/>
        <pc:sldMkLst>
          <pc:docMk/>
          <pc:sldMk cId="2335909723" sldId="848"/>
        </pc:sldMkLst>
      </pc:sldChg>
      <pc:sldChg chg="modSp">
        <pc:chgData name="Henig, Sarit" userId="S::sarit.henig@mheducation.com::ad83c6bf-9a7d-4a88-b545-e6e8836bd6ee" providerId="AD" clId="Web-{D72FB91F-502E-FA2A-7824-5181B93C5199}" dt="2025-05-20T16:02:48.348" v="40" actId="20577"/>
        <pc:sldMkLst>
          <pc:docMk/>
          <pc:sldMk cId="1238119260" sldId="849"/>
        </pc:sldMkLst>
      </pc:sldChg>
      <pc:sldChg chg="modSp">
        <pc:chgData name="Henig, Sarit" userId="S::sarit.henig@mheducation.com::ad83c6bf-9a7d-4a88-b545-e6e8836bd6ee" providerId="AD" clId="Web-{D72FB91F-502E-FA2A-7824-5181B93C5199}" dt="2025-05-20T16:02:54.520" v="42" actId="20577"/>
        <pc:sldMkLst>
          <pc:docMk/>
          <pc:sldMk cId="45507541" sldId="851"/>
        </pc:sldMkLst>
      </pc:sldChg>
      <pc:sldChg chg="modSp">
        <pc:chgData name="Henig, Sarit" userId="S::sarit.henig@mheducation.com::ad83c6bf-9a7d-4a88-b545-e6e8836bd6ee" providerId="AD" clId="Web-{D72FB91F-502E-FA2A-7824-5181B93C5199}" dt="2025-05-20T16:03:01.348" v="44" actId="20577"/>
        <pc:sldMkLst>
          <pc:docMk/>
          <pc:sldMk cId="1056654386" sldId="852"/>
        </pc:sldMkLst>
      </pc:sldChg>
      <pc:sldChg chg="modSp">
        <pc:chgData name="Henig, Sarit" userId="S::sarit.henig@mheducation.com::ad83c6bf-9a7d-4a88-b545-e6e8836bd6ee" providerId="AD" clId="Web-{D72FB91F-502E-FA2A-7824-5181B93C5199}" dt="2025-05-20T16:03:08.582" v="47" actId="20577"/>
        <pc:sldMkLst>
          <pc:docMk/>
          <pc:sldMk cId="666288661" sldId="853"/>
        </pc:sldMkLst>
      </pc:sldChg>
      <pc:sldChg chg="modSp">
        <pc:chgData name="Henig, Sarit" userId="S::sarit.henig@mheducation.com::ad83c6bf-9a7d-4a88-b545-e6e8836bd6ee" providerId="AD" clId="Web-{D72FB91F-502E-FA2A-7824-5181B93C5199}" dt="2025-05-20T15:37:00.051" v="34"/>
        <pc:sldMkLst>
          <pc:docMk/>
          <pc:sldMk cId="2107797622" sldId="856"/>
        </pc:sldMkLst>
      </pc:sldChg>
      <pc:sldChg chg="modSp">
        <pc:chgData name="Henig, Sarit" userId="S::sarit.henig@mheducation.com::ad83c6bf-9a7d-4a88-b545-e6e8836bd6ee" providerId="AD" clId="Web-{D72FB91F-502E-FA2A-7824-5181B93C5199}" dt="2025-05-20T15:30:06.368" v="15"/>
        <pc:sldMkLst>
          <pc:docMk/>
          <pc:sldMk cId="1950814340" sldId="862"/>
        </pc:sldMkLst>
      </pc:sldChg>
      <pc:sldChg chg="modSp">
        <pc:chgData name="Henig, Sarit" userId="S::sarit.henig@mheducation.com::ad83c6bf-9a7d-4a88-b545-e6e8836bd6ee" providerId="AD" clId="Web-{D72FB91F-502E-FA2A-7824-5181B93C5199}" dt="2025-05-20T15:30:28.899" v="18"/>
        <pc:sldMkLst>
          <pc:docMk/>
          <pc:sldMk cId="572236885" sldId="863"/>
        </pc:sldMkLst>
        <pc:picChg chg="mod">
          <ac:chgData name="Henig, Sarit" userId="S::sarit.henig@mheducation.com::ad83c6bf-9a7d-4a88-b545-e6e8836bd6ee" providerId="AD" clId="Web-{D72FB91F-502E-FA2A-7824-5181B93C5199}" dt="2025-05-20T15:30:23.430" v="16"/>
          <ac:picMkLst>
            <pc:docMk/>
            <pc:sldMk cId="572236885" sldId="863"/>
            <ac:picMk id="7" creationId="{B2102AB5-EC71-434C-FEB4-30BD35AD5708}"/>
          </ac:picMkLst>
        </pc:picChg>
        <pc:picChg chg="mod">
          <ac:chgData name="Henig, Sarit" userId="S::sarit.henig@mheducation.com::ad83c6bf-9a7d-4a88-b545-e6e8836bd6ee" providerId="AD" clId="Web-{D72FB91F-502E-FA2A-7824-5181B93C5199}" dt="2025-05-20T15:30:28.899" v="18"/>
          <ac:picMkLst>
            <pc:docMk/>
            <pc:sldMk cId="572236885" sldId="863"/>
            <ac:picMk id="9" creationId="{84543BC3-0BFA-C64F-A2FD-2E27DA75B59A}"/>
          </ac:picMkLst>
        </pc:picChg>
      </pc:sldChg>
      <pc:sldChg chg="modSp">
        <pc:chgData name="Henig, Sarit" userId="S::sarit.henig@mheducation.com::ad83c6bf-9a7d-4a88-b545-e6e8836bd6ee" providerId="AD" clId="Web-{D72FB91F-502E-FA2A-7824-5181B93C5199}" dt="2025-05-20T15:28:33.260" v="2"/>
        <pc:sldMkLst>
          <pc:docMk/>
          <pc:sldMk cId="1160179768" sldId="875"/>
        </pc:sldMkLst>
      </pc:sldChg>
      <pc:sldChg chg="del mod modShow">
        <pc:chgData name="Henig, Sarit" userId="S::sarit.henig@mheducation.com::ad83c6bf-9a7d-4a88-b545-e6e8836bd6ee" providerId="AD" clId="Web-{D72FB91F-502E-FA2A-7824-5181B93C5199}" dt="2025-05-20T16:07:06.892" v="64"/>
        <pc:sldMkLst>
          <pc:docMk/>
          <pc:sldMk cId="1908401913" sldId="884"/>
        </pc:sldMkLst>
      </pc:sldChg>
      <pc:sldChg chg="modSp">
        <pc:chgData name="Henig, Sarit" userId="S::sarit.henig@mheducation.com::ad83c6bf-9a7d-4a88-b545-e6e8836bd6ee" providerId="AD" clId="Web-{D72FB91F-502E-FA2A-7824-5181B93C5199}" dt="2025-05-20T16:03:05.676" v="46" actId="20577"/>
        <pc:sldMkLst>
          <pc:docMk/>
          <pc:sldMk cId="175665335" sldId="885"/>
        </pc:sldMkLst>
      </pc:sldChg>
      <pc:sldChg chg="modSp">
        <pc:chgData name="Henig, Sarit" userId="S::sarit.henig@mheducation.com::ad83c6bf-9a7d-4a88-b545-e6e8836bd6ee" providerId="AD" clId="Web-{D72FB91F-502E-FA2A-7824-5181B93C5199}" dt="2025-05-20T16:03:19.269" v="49" actId="20577"/>
        <pc:sldMkLst>
          <pc:docMk/>
          <pc:sldMk cId="2955950541" sldId="887"/>
        </pc:sldMkLst>
      </pc:sldChg>
      <pc:sldChg chg="modSp">
        <pc:chgData name="Henig, Sarit" userId="S::sarit.henig@mheducation.com::ad83c6bf-9a7d-4a88-b545-e6e8836bd6ee" providerId="AD" clId="Web-{D72FB91F-502E-FA2A-7824-5181B93C5199}" dt="2025-05-20T16:06:25.064" v="60" actId="20577"/>
        <pc:sldMkLst>
          <pc:docMk/>
          <pc:sldMk cId="1576159621" sldId="897"/>
        </pc:sldMkLst>
      </pc:sldChg>
      <pc:sldChg chg="modSp">
        <pc:chgData name="Henig, Sarit" userId="S::sarit.henig@mheducation.com::ad83c6bf-9a7d-4a88-b545-e6e8836bd6ee" providerId="AD" clId="Web-{D72FB91F-502E-FA2A-7824-5181B93C5199}" dt="2025-05-20T16:06:21.299" v="59" actId="20577"/>
        <pc:sldMkLst>
          <pc:docMk/>
          <pc:sldMk cId="4292939914" sldId="899"/>
        </pc:sldMkLst>
      </pc:sldChg>
      <pc:sldChg chg="del mod modShow">
        <pc:chgData name="Henig, Sarit" userId="S::sarit.henig@mheducation.com::ad83c6bf-9a7d-4a88-b545-e6e8836bd6ee" providerId="AD" clId="Web-{D72FB91F-502E-FA2A-7824-5181B93C5199}" dt="2025-05-20T16:06:52.376" v="63"/>
        <pc:sldMkLst>
          <pc:docMk/>
          <pc:sldMk cId="1351692264" sldId="900"/>
        </pc:sldMkLst>
      </pc:sldChg>
      <pc:sldChg chg="del mod ord modShow">
        <pc:chgData name="Henig, Sarit" userId="S::sarit.henig@mheducation.com::ad83c6bf-9a7d-4a88-b545-e6e8836bd6ee" providerId="AD" clId="Web-{D72FB91F-502E-FA2A-7824-5181B93C5199}" dt="2025-05-20T16:06:51.470" v="62"/>
        <pc:sldMkLst>
          <pc:docMk/>
          <pc:sldMk cId="246610043" sldId="902"/>
        </pc:sldMkLst>
      </pc:sldChg>
      <pc:sldChg chg="modSp">
        <pc:chgData name="Henig, Sarit" userId="S::sarit.henig@mheducation.com::ad83c6bf-9a7d-4a88-b545-e6e8836bd6ee" providerId="AD" clId="Web-{D72FB91F-502E-FA2A-7824-5181B93C5199}" dt="2025-05-20T15:29:14.931" v="3"/>
        <pc:sldMkLst>
          <pc:docMk/>
          <pc:sldMk cId="3676257074" sldId="910"/>
        </pc:sldMkLst>
      </pc:sldChg>
      <pc:sldChg chg="modSp">
        <pc:chgData name="Henig, Sarit" userId="S::sarit.henig@mheducation.com::ad83c6bf-9a7d-4a88-b545-e6e8836bd6ee" providerId="AD" clId="Web-{D72FB91F-502E-FA2A-7824-5181B93C5199}" dt="2025-05-20T15:29:30.353" v="4"/>
        <pc:sldMkLst>
          <pc:docMk/>
          <pc:sldMk cId="1705168920" sldId="911"/>
        </pc:sldMkLst>
      </pc:sldChg>
      <pc:sldChg chg="modSp">
        <pc:chgData name="Henig, Sarit" userId="S::sarit.henig@mheducation.com::ad83c6bf-9a7d-4a88-b545-e6e8836bd6ee" providerId="AD" clId="Web-{D72FB91F-502E-FA2A-7824-5181B93C5199}" dt="2025-05-20T15:29:32.790" v="5"/>
        <pc:sldMkLst>
          <pc:docMk/>
          <pc:sldMk cId="3079800789" sldId="912"/>
        </pc:sldMkLst>
      </pc:sldChg>
      <pc:sldChg chg="modSp">
        <pc:chgData name="Henig, Sarit" userId="S::sarit.henig@mheducation.com::ad83c6bf-9a7d-4a88-b545-e6e8836bd6ee" providerId="AD" clId="Web-{D72FB91F-502E-FA2A-7824-5181B93C5199}" dt="2025-05-20T15:29:35.447" v="6"/>
        <pc:sldMkLst>
          <pc:docMk/>
          <pc:sldMk cId="2197605600" sldId="913"/>
        </pc:sldMkLst>
      </pc:sldChg>
      <pc:sldChg chg="modSp">
        <pc:chgData name="Henig, Sarit" userId="S::sarit.henig@mheducation.com::ad83c6bf-9a7d-4a88-b545-e6e8836bd6ee" providerId="AD" clId="Web-{D72FB91F-502E-FA2A-7824-5181B93C5199}" dt="2025-05-20T16:03:24.426" v="51" actId="20577"/>
        <pc:sldMkLst>
          <pc:docMk/>
          <pc:sldMk cId="1586874608" sldId="914"/>
        </pc:sldMkLst>
      </pc:sldChg>
      <pc:sldChg chg="modSp">
        <pc:chgData name="Henig, Sarit" userId="S::sarit.henig@mheducation.com::ad83c6bf-9a7d-4a88-b545-e6e8836bd6ee" providerId="AD" clId="Web-{D72FB91F-502E-FA2A-7824-5181B93C5199}" dt="2025-05-20T16:03:27.441" v="52" actId="20577"/>
        <pc:sldMkLst>
          <pc:docMk/>
          <pc:sldMk cId="3935712624" sldId="915"/>
        </pc:sldMkLst>
      </pc:sldChg>
      <pc:sldChg chg="modSp">
        <pc:chgData name="Henig, Sarit" userId="S::sarit.henig@mheducation.com::ad83c6bf-9a7d-4a88-b545-e6e8836bd6ee" providerId="AD" clId="Web-{D72FB91F-502E-FA2A-7824-5181B93C5199}" dt="2025-05-20T16:03:30.738" v="53" actId="20577"/>
        <pc:sldMkLst>
          <pc:docMk/>
          <pc:sldMk cId="3366630344" sldId="916"/>
        </pc:sldMkLst>
      </pc:sldChg>
      <pc:sldChg chg="modSp">
        <pc:chgData name="Henig, Sarit" userId="S::sarit.henig@mheducation.com::ad83c6bf-9a7d-4a88-b545-e6e8836bd6ee" providerId="AD" clId="Web-{D72FB91F-502E-FA2A-7824-5181B93C5199}" dt="2025-05-20T16:03:33.269" v="54" actId="20577"/>
        <pc:sldMkLst>
          <pc:docMk/>
          <pc:sldMk cId="1000693420" sldId="917"/>
        </pc:sldMkLst>
      </pc:sldChg>
      <pc:sldChg chg="modSp">
        <pc:chgData name="Henig, Sarit" userId="S::sarit.henig@mheducation.com::ad83c6bf-9a7d-4a88-b545-e6e8836bd6ee" providerId="AD" clId="Web-{D72FB91F-502E-FA2A-7824-5181B93C5199}" dt="2025-05-20T16:03:48.660" v="56" actId="20577"/>
        <pc:sldMkLst>
          <pc:docMk/>
          <pc:sldMk cId="2499750345" sldId="918"/>
        </pc:sldMkLst>
      </pc:sldChg>
    </pc:docChg>
  </pc:docChgLst>
  <pc:docChgLst>
    <pc:chgData name="Henig, Sarit" userId="S::sarit.henig@mheducation.com::ad83c6bf-9a7d-4a88-b545-e6e8836bd6ee" providerId="AD" clId="Web-{DD0C13B9-6A3D-D4FB-0DDA-04B3690C5A2A}"/>
    <pc:docChg chg="addSld delSld modSld sldOrd addSection delSection modSection">
      <pc:chgData name="Henig, Sarit" userId="S::sarit.henig@mheducation.com::ad83c6bf-9a7d-4a88-b545-e6e8836bd6ee" providerId="AD" clId="Web-{DD0C13B9-6A3D-D4FB-0DDA-04B3690C5A2A}" dt="2025-05-19T22:57:49.020" v="821" actId="20577"/>
      <pc:docMkLst>
        <pc:docMk/>
      </pc:docMkLst>
      <pc:sldChg chg="add del">
        <pc:chgData name="Henig, Sarit" userId="S::sarit.henig@mheducation.com::ad83c6bf-9a7d-4a88-b545-e6e8836bd6ee" providerId="AD" clId="Web-{DD0C13B9-6A3D-D4FB-0DDA-04B3690C5A2A}" dt="2025-05-19T20:58:00.494" v="42"/>
        <pc:sldMkLst>
          <pc:docMk/>
          <pc:sldMk cId="2993393411" sldId="258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08.791" v="47"/>
        <pc:sldMkLst>
          <pc:docMk/>
          <pc:sldMk cId="1979741440" sldId="274"/>
        </pc:sldMkLst>
      </pc:sldChg>
      <pc:sldChg chg="addSp delSp modSp add del mod modShow">
        <pc:chgData name="Henig, Sarit" userId="S::sarit.henig@mheducation.com::ad83c6bf-9a7d-4a88-b545-e6e8836bd6ee" providerId="AD" clId="Web-{DD0C13B9-6A3D-D4FB-0DDA-04B3690C5A2A}" dt="2025-05-19T22:53:16.764" v="795" actId="20577"/>
        <pc:sldMkLst>
          <pc:docMk/>
          <pc:sldMk cId="2979897700" sldId="727"/>
        </pc:sldMkLst>
        <pc:spChg chg="mod">
          <ac:chgData name="Henig, Sarit" userId="S::sarit.henig@mheducation.com::ad83c6bf-9a7d-4a88-b545-e6e8836bd6ee" providerId="AD" clId="Web-{DD0C13B9-6A3D-D4FB-0DDA-04B3690C5A2A}" dt="2025-05-19T22:53:16.764" v="795" actId="20577"/>
          <ac:spMkLst>
            <pc:docMk/>
            <pc:sldMk cId="2979897700" sldId="727"/>
            <ac:spMk id="6" creationId="{067892B8-AB1F-0462-871B-2BFA44332D41}"/>
          </ac:spMkLst>
        </pc:spChg>
      </pc:sldChg>
      <pc:sldChg chg="add del">
        <pc:chgData name="Henig, Sarit" userId="S::sarit.henig@mheducation.com::ad83c6bf-9a7d-4a88-b545-e6e8836bd6ee" providerId="AD" clId="Web-{DD0C13B9-6A3D-D4FB-0DDA-04B3690C5A2A}" dt="2025-05-19T20:58:16.572" v="52"/>
        <pc:sldMkLst>
          <pc:docMk/>
          <pc:sldMk cId="2254756632" sldId="750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10.260" v="48"/>
        <pc:sldMkLst>
          <pc:docMk/>
          <pc:sldMk cId="3492896196" sldId="752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11.588" v="49"/>
        <pc:sldMkLst>
          <pc:docMk/>
          <pc:sldMk cId="980621652" sldId="753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13.994" v="50"/>
        <pc:sldMkLst>
          <pc:docMk/>
          <pc:sldMk cId="3523160466" sldId="754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15.572" v="51"/>
        <pc:sldMkLst>
          <pc:docMk/>
          <pc:sldMk cId="1294776519" sldId="755"/>
        </pc:sldMkLst>
      </pc:sldChg>
      <pc:sldChg chg="add del">
        <pc:chgData name="Henig, Sarit" userId="S::sarit.henig@mheducation.com::ad83c6bf-9a7d-4a88-b545-e6e8836bd6ee" providerId="AD" clId="Web-{DD0C13B9-6A3D-D4FB-0DDA-04B3690C5A2A}" dt="2025-05-19T22:02:43.764" v="274"/>
        <pc:sldMkLst>
          <pc:docMk/>
          <pc:sldMk cId="4001432591" sldId="756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06.150" v="46"/>
        <pc:sldMkLst>
          <pc:docMk/>
          <pc:sldMk cId="358788574" sldId="762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03.916" v="44"/>
        <pc:sldMkLst>
          <pc:docMk/>
          <pc:sldMk cId="895522236" sldId="764"/>
        </pc:sldMkLst>
      </pc:sldChg>
      <pc:sldChg chg="del">
        <pc:chgData name="Henig, Sarit" userId="S::sarit.henig@mheducation.com::ad83c6bf-9a7d-4a88-b545-e6e8836bd6ee" providerId="AD" clId="Web-{DD0C13B9-6A3D-D4FB-0DDA-04B3690C5A2A}" dt="2025-05-19T20:58:25.713" v="62"/>
        <pc:sldMkLst>
          <pc:docMk/>
          <pc:sldMk cId="3174552575" sldId="766"/>
        </pc:sldMkLst>
      </pc:sldChg>
      <pc:sldChg chg="del">
        <pc:chgData name="Henig, Sarit" userId="S::sarit.henig@mheducation.com::ad83c6bf-9a7d-4a88-b545-e6e8836bd6ee" providerId="AD" clId="Web-{DD0C13B9-6A3D-D4FB-0DDA-04B3690C5A2A}" dt="2025-05-19T20:58:21.244" v="56"/>
        <pc:sldMkLst>
          <pc:docMk/>
          <pc:sldMk cId="3644309854" sldId="767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19.166" v="54"/>
        <pc:sldMkLst>
          <pc:docMk/>
          <pc:sldMk cId="63539674" sldId="768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06:31.939" v="73"/>
        <pc:sldMkLst>
          <pc:docMk/>
          <pc:sldMk cId="3611646180" sldId="769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10:46.601" v="363"/>
        <pc:sldMkLst>
          <pc:docMk/>
          <pc:sldMk cId="1701959421" sldId="770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20:22.077" v="120"/>
        <pc:sldMkLst>
          <pc:docMk/>
          <pc:sldMk cId="3288097003" sldId="773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20:24.452" v="121"/>
        <pc:sldMkLst>
          <pc:docMk/>
          <pc:sldMk cId="1631459619" sldId="774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20:38.874" v="126"/>
        <pc:sldMkLst>
          <pc:docMk/>
          <pc:sldMk cId="4205446664" sldId="775"/>
        </pc:sldMkLst>
      </pc:sldChg>
      <pc:sldChg chg="delSp modSp add del">
        <pc:chgData name="Henig, Sarit" userId="S::sarit.henig@mheducation.com::ad83c6bf-9a7d-4a88-b545-e6e8836bd6ee" providerId="AD" clId="Web-{DD0C13B9-6A3D-D4FB-0DDA-04B3690C5A2A}" dt="2025-05-19T22:02:43.731" v="273"/>
        <pc:sldMkLst>
          <pc:docMk/>
          <pc:sldMk cId="1041247244" sldId="777"/>
        </pc:sldMkLst>
        <pc:spChg chg="mod">
          <ac:chgData name="Henig, Sarit" userId="S::sarit.henig@mheducation.com::ad83c6bf-9a7d-4a88-b545-e6e8836bd6ee" providerId="AD" clId="Web-{DD0C13B9-6A3D-D4FB-0DDA-04B3690C5A2A}" dt="2025-05-19T22:01:55.074" v="266" actId="20577"/>
          <ac:spMkLst>
            <pc:docMk/>
            <pc:sldMk cId="1041247244" sldId="777"/>
            <ac:spMk id="6" creationId="{B0142E43-DE2B-6632-4863-878684C53A83}"/>
          </ac:spMkLst>
        </pc:spChg>
      </pc:sldChg>
      <pc:sldChg chg="del">
        <pc:chgData name="Henig, Sarit" userId="S::sarit.henig@mheducation.com::ad83c6bf-9a7d-4a88-b545-e6e8836bd6ee" providerId="AD" clId="Web-{DD0C13B9-6A3D-D4FB-0DDA-04B3690C5A2A}" dt="2025-05-19T22:28:20.326" v="494"/>
        <pc:sldMkLst>
          <pc:docMk/>
          <pc:sldMk cId="1751168203" sldId="783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18.401" v="53"/>
        <pc:sldMkLst>
          <pc:docMk/>
          <pc:sldMk cId="4035287873" sldId="786"/>
        </pc:sldMkLst>
      </pc:sldChg>
      <pc:sldChg chg="del">
        <pc:chgData name="Henig, Sarit" userId="S::sarit.henig@mheducation.com::ad83c6bf-9a7d-4a88-b545-e6e8836bd6ee" providerId="AD" clId="Web-{DD0C13B9-6A3D-D4FB-0DDA-04B3690C5A2A}" dt="2025-05-19T20:58:24.369" v="60"/>
        <pc:sldMkLst>
          <pc:docMk/>
          <pc:sldMk cId="2976806909" sldId="788"/>
        </pc:sldMkLst>
      </pc:sldChg>
      <pc:sldChg chg="del">
        <pc:chgData name="Henig, Sarit" userId="S::sarit.henig@mheducation.com::ad83c6bf-9a7d-4a88-b545-e6e8836bd6ee" providerId="AD" clId="Web-{DD0C13B9-6A3D-D4FB-0DDA-04B3690C5A2A}" dt="2025-05-19T20:58:23.448" v="59"/>
        <pc:sldMkLst>
          <pc:docMk/>
          <pc:sldMk cId="1140683063" sldId="789"/>
        </pc:sldMkLst>
      </pc:sldChg>
      <pc:sldChg chg="del">
        <pc:chgData name="Henig, Sarit" userId="S::sarit.henig@mheducation.com::ad83c6bf-9a7d-4a88-b545-e6e8836bd6ee" providerId="AD" clId="Web-{DD0C13B9-6A3D-D4FB-0DDA-04B3690C5A2A}" dt="2025-05-19T20:58:22.807" v="58"/>
        <pc:sldMkLst>
          <pc:docMk/>
          <pc:sldMk cId="2690382633" sldId="790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20.198" v="55"/>
        <pc:sldMkLst>
          <pc:docMk/>
          <pc:sldMk cId="1639677071" sldId="791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9.467" v="490"/>
        <pc:sldMkLst>
          <pc:docMk/>
          <pc:sldMk cId="1723135575" sldId="792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9.170" v="489"/>
        <pc:sldMkLst>
          <pc:docMk/>
          <pc:sldMk cId="2603716226" sldId="793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7.936" v="488"/>
        <pc:sldMkLst>
          <pc:docMk/>
          <pc:sldMk cId="4188528728" sldId="794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7.592" v="487"/>
        <pc:sldMkLst>
          <pc:docMk/>
          <pc:sldMk cId="1038415905" sldId="795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6.639" v="486"/>
        <pc:sldMkLst>
          <pc:docMk/>
          <pc:sldMk cId="581683259" sldId="796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6.076" v="485"/>
        <pc:sldMkLst>
          <pc:docMk/>
          <pc:sldMk cId="1222086657" sldId="797"/>
        </pc:sldMkLst>
      </pc:sldChg>
      <pc:sldChg chg="del">
        <pc:chgData name="Henig, Sarit" userId="S::sarit.henig@mheducation.com::ad83c6bf-9a7d-4a88-b545-e6e8836bd6ee" providerId="AD" clId="Web-{DD0C13B9-6A3D-D4FB-0DDA-04B3690C5A2A}" dt="2025-05-19T20:58:21.979" v="57"/>
        <pc:sldMkLst>
          <pc:docMk/>
          <pc:sldMk cId="4203977665" sldId="798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01.244" v="43"/>
        <pc:sldMkLst>
          <pc:docMk/>
          <pc:sldMk cId="399090582" sldId="799"/>
        </pc:sldMkLst>
      </pc:sldChg>
      <pc:sldChg chg="add del">
        <pc:chgData name="Henig, Sarit" userId="S::sarit.henig@mheducation.com::ad83c6bf-9a7d-4a88-b545-e6e8836bd6ee" providerId="AD" clId="Web-{DD0C13B9-6A3D-D4FB-0DDA-04B3690C5A2A}" dt="2025-05-19T20:58:05.307" v="45"/>
        <pc:sldMkLst>
          <pc:docMk/>
          <pc:sldMk cId="3252986610" sldId="800"/>
        </pc:sldMkLst>
      </pc:sldChg>
      <pc:sldChg chg="add del mod ord modShow">
        <pc:chgData name="Henig, Sarit" userId="S::sarit.henig@mheducation.com::ad83c6bf-9a7d-4a88-b545-e6e8836bd6ee" providerId="AD" clId="Web-{DD0C13B9-6A3D-D4FB-0DDA-04B3690C5A2A}" dt="2025-05-19T22:53:17.296" v="796"/>
        <pc:sldMkLst>
          <pc:docMk/>
          <pc:sldMk cId="820621749" sldId="801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4.623" v="482"/>
        <pc:sldMkLst>
          <pc:docMk/>
          <pc:sldMk cId="1232854437" sldId="802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5.451" v="483"/>
        <pc:sldMkLst>
          <pc:docMk/>
          <pc:sldMk cId="893340601" sldId="803"/>
        </pc:sldMkLst>
      </pc:sldChg>
      <pc:sldChg chg="del">
        <pc:chgData name="Henig, Sarit" userId="S::sarit.henig@mheducation.com::ad83c6bf-9a7d-4a88-b545-e6e8836bd6ee" providerId="AD" clId="Web-{DD0C13B9-6A3D-D4FB-0DDA-04B3690C5A2A}" dt="2025-05-19T20:58:25.057" v="61"/>
        <pc:sldMkLst>
          <pc:docMk/>
          <pc:sldMk cId="719644116" sldId="805"/>
        </pc:sldMkLst>
      </pc:sldChg>
      <pc:sldChg chg="addSp delSp modSp">
        <pc:chgData name="Henig, Sarit" userId="S::sarit.henig@mheducation.com::ad83c6bf-9a7d-4a88-b545-e6e8836bd6ee" providerId="AD" clId="Web-{DD0C13B9-6A3D-D4FB-0DDA-04B3690C5A2A}" dt="2025-05-19T21:10:44.490" v="93"/>
        <pc:sldMkLst>
          <pc:docMk/>
          <pc:sldMk cId="47872246" sldId="806"/>
        </pc:sldMkLst>
        <pc:spChg chg="add">
          <ac:chgData name="Henig, Sarit" userId="S::sarit.henig@mheducation.com::ad83c6bf-9a7d-4a88-b545-e6e8836bd6ee" providerId="AD" clId="Web-{DD0C13B9-6A3D-D4FB-0DDA-04B3690C5A2A}" dt="2025-05-19T21:10:44.490" v="93"/>
          <ac:spMkLst>
            <pc:docMk/>
            <pc:sldMk cId="47872246" sldId="806"/>
            <ac:spMk id="6" creationId="{B8BDDDD4-0CCE-5CC2-6BC3-51BFB1453DE9}"/>
          </ac:spMkLst>
        </pc:spChg>
        <pc:spChg chg="mod">
          <ac:chgData name="Henig, Sarit" userId="S::sarit.henig@mheducation.com::ad83c6bf-9a7d-4a88-b545-e6e8836bd6ee" providerId="AD" clId="Web-{DD0C13B9-6A3D-D4FB-0DDA-04B3690C5A2A}" dt="2025-05-19T21:09:34.286" v="78" actId="20577"/>
          <ac:spMkLst>
            <pc:docMk/>
            <pc:sldMk cId="47872246" sldId="806"/>
            <ac:spMk id="10" creationId="{A7B6105D-F1A2-29D1-4CA2-FB347CD25F78}"/>
          </ac:spMkLst>
        </pc:spChg>
      </pc:sldChg>
      <pc:sldChg chg="modSp ord">
        <pc:chgData name="Henig, Sarit" userId="S::sarit.henig@mheducation.com::ad83c6bf-9a7d-4a88-b545-e6e8836bd6ee" providerId="AD" clId="Web-{DD0C13B9-6A3D-D4FB-0DDA-04B3690C5A2A}" dt="2025-05-19T21:09:17.551" v="76" actId="20577"/>
        <pc:sldMkLst>
          <pc:docMk/>
          <pc:sldMk cId="143937462" sldId="807"/>
        </pc:sldMkLst>
      </pc:sldChg>
      <pc:sldChg chg="del">
        <pc:chgData name="Henig, Sarit" userId="S::sarit.henig@mheducation.com::ad83c6bf-9a7d-4a88-b545-e6e8836bd6ee" providerId="AD" clId="Web-{DD0C13B9-6A3D-D4FB-0DDA-04B3690C5A2A}" dt="2025-05-19T22:28:20.826" v="499"/>
        <pc:sldMkLst>
          <pc:docMk/>
          <pc:sldMk cId="2923291124" sldId="808"/>
        </pc:sldMkLst>
      </pc:sldChg>
      <pc:sldChg chg="addSp delSp modSp del mod modShow">
        <pc:chgData name="Henig, Sarit" userId="S::sarit.henig@mheducation.com::ad83c6bf-9a7d-4a88-b545-e6e8836bd6ee" providerId="AD" clId="Web-{DD0C13B9-6A3D-D4FB-0DDA-04B3690C5A2A}" dt="2025-05-19T22:00:16.056" v="240"/>
        <pc:sldMkLst>
          <pc:docMk/>
          <pc:sldMk cId="3812474684" sldId="810"/>
        </pc:sldMkLst>
      </pc:sldChg>
      <pc:sldChg chg="addSp delSp modSp del mod modShow">
        <pc:chgData name="Henig, Sarit" userId="S::sarit.henig@mheducation.com::ad83c6bf-9a7d-4a88-b545-e6e8836bd6ee" providerId="AD" clId="Web-{DD0C13B9-6A3D-D4FB-0DDA-04B3690C5A2A}" dt="2025-05-19T22:00:17.791" v="241"/>
        <pc:sldMkLst>
          <pc:docMk/>
          <pc:sldMk cId="1428653574" sldId="811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0:45.744" v="243"/>
        <pc:sldMkLst>
          <pc:docMk/>
          <pc:sldMk cId="1038033158" sldId="812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0:51.448" v="248"/>
        <pc:sldMkLst>
          <pc:docMk/>
          <pc:sldMk cId="1525594926" sldId="813"/>
        </pc:sldMkLst>
      </pc:sldChg>
      <pc:sldChg chg="del">
        <pc:chgData name="Henig, Sarit" userId="S::sarit.henig@mheducation.com::ad83c6bf-9a7d-4a88-b545-e6e8836bd6ee" providerId="AD" clId="Web-{DD0C13B9-6A3D-D4FB-0DDA-04B3690C5A2A}" dt="2025-05-19T22:00:13.744" v="239"/>
        <pc:sldMkLst>
          <pc:docMk/>
          <pc:sldMk cId="1523807167" sldId="814"/>
        </pc:sldMkLst>
      </pc:sldChg>
      <pc:sldChg chg="del">
        <pc:chgData name="Henig, Sarit" userId="S::sarit.henig@mheducation.com::ad83c6bf-9a7d-4a88-b545-e6e8836bd6ee" providerId="AD" clId="Web-{DD0C13B9-6A3D-D4FB-0DDA-04B3690C5A2A}" dt="2025-05-19T22:28:20.733" v="498"/>
        <pc:sldMkLst>
          <pc:docMk/>
          <pc:sldMk cId="575043863" sldId="815"/>
        </pc:sldMkLst>
      </pc:sldChg>
      <pc:sldChg chg="del">
        <pc:chgData name="Henig, Sarit" userId="S::sarit.henig@mheducation.com::ad83c6bf-9a7d-4a88-b545-e6e8836bd6ee" providerId="AD" clId="Web-{DD0C13B9-6A3D-D4FB-0DDA-04B3690C5A2A}" dt="2025-05-19T22:28:20.529" v="496"/>
        <pc:sldMkLst>
          <pc:docMk/>
          <pc:sldMk cId="3362224630" sldId="816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4.311" v="481"/>
        <pc:sldMkLst>
          <pc:docMk/>
          <pc:sldMk cId="4007883331" sldId="818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20:26.921" v="122"/>
        <pc:sldMkLst>
          <pc:docMk/>
          <pc:sldMk cId="451818725" sldId="819"/>
        </pc:sldMkLst>
      </pc:sldChg>
      <pc:sldChg chg="del">
        <pc:chgData name="Henig, Sarit" userId="S::sarit.henig@mheducation.com::ad83c6bf-9a7d-4a88-b545-e6e8836bd6ee" providerId="AD" clId="Web-{DD0C13B9-6A3D-D4FB-0DDA-04B3690C5A2A}" dt="2025-05-19T22:28:20.639" v="497"/>
        <pc:sldMkLst>
          <pc:docMk/>
          <pc:sldMk cId="1681987343" sldId="820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20:29.186" v="123"/>
        <pc:sldMkLst>
          <pc:docMk/>
          <pc:sldMk cId="2348071683" sldId="821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39:40.983" v="127"/>
        <pc:sldMkLst>
          <pc:docMk/>
          <pc:sldMk cId="420987227" sldId="822"/>
        </pc:sldMkLst>
      </pc:sldChg>
      <pc:sldChg chg="addSp delSp modSp del mod modShow">
        <pc:chgData name="Henig, Sarit" userId="S::sarit.henig@mheducation.com::ad83c6bf-9a7d-4a88-b545-e6e8836bd6ee" providerId="AD" clId="Web-{DD0C13B9-6A3D-D4FB-0DDA-04B3690C5A2A}" dt="2025-05-19T21:42:51.440" v="152"/>
        <pc:sldMkLst>
          <pc:docMk/>
          <pc:sldMk cId="380028760" sldId="823"/>
        </pc:sldMkLst>
      </pc:sldChg>
      <pc:sldChg chg="delSp">
        <pc:chgData name="Henig, Sarit" userId="S::sarit.henig@mheducation.com::ad83c6bf-9a7d-4a88-b545-e6e8836bd6ee" providerId="AD" clId="Web-{DD0C13B9-6A3D-D4FB-0DDA-04B3690C5A2A}" dt="2025-05-19T22:02:11.231" v="268"/>
        <pc:sldMkLst>
          <pc:docMk/>
          <pc:sldMk cId="53558719" sldId="825"/>
        </pc:sldMkLst>
      </pc:sldChg>
      <pc:sldChg chg="delSp">
        <pc:chgData name="Henig, Sarit" userId="S::sarit.henig@mheducation.com::ad83c6bf-9a7d-4a88-b545-e6e8836bd6ee" providerId="AD" clId="Web-{DD0C13B9-6A3D-D4FB-0DDA-04B3690C5A2A}" dt="2025-05-19T21:41:40.376" v="145"/>
        <pc:sldMkLst>
          <pc:docMk/>
          <pc:sldMk cId="2821628256" sldId="826"/>
        </pc:sldMkLst>
      </pc:sldChg>
      <pc:sldChg chg="delSp">
        <pc:chgData name="Henig, Sarit" userId="S::sarit.henig@mheducation.com::ad83c6bf-9a7d-4a88-b545-e6e8836bd6ee" providerId="AD" clId="Web-{DD0C13B9-6A3D-D4FB-0DDA-04B3690C5A2A}" dt="2025-05-19T21:41:28.923" v="143"/>
        <pc:sldMkLst>
          <pc:docMk/>
          <pc:sldMk cId="853431891" sldId="827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5.732" v="484"/>
        <pc:sldMkLst>
          <pc:docMk/>
          <pc:sldMk cId="3415098676" sldId="828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1:20.167" v="261"/>
        <pc:sldMkLst>
          <pc:docMk/>
          <pc:sldMk cId="2659409275" sldId="830"/>
        </pc:sldMkLst>
      </pc:sldChg>
      <pc:sldChg chg="delSp">
        <pc:chgData name="Henig, Sarit" userId="S::sarit.henig@mheducation.com::ad83c6bf-9a7d-4a88-b545-e6e8836bd6ee" providerId="AD" clId="Web-{DD0C13B9-6A3D-D4FB-0DDA-04B3690C5A2A}" dt="2025-05-19T22:01:11.229" v="257"/>
        <pc:sldMkLst>
          <pc:docMk/>
          <pc:sldMk cId="3403901250" sldId="831"/>
        </pc:sldMkLst>
      </pc:sldChg>
      <pc:sldChg chg="delSp">
        <pc:chgData name="Henig, Sarit" userId="S::sarit.henig@mheducation.com::ad83c6bf-9a7d-4a88-b545-e6e8836bd6ee" providerId="AD" clId="Web-{DD0C13B9-6A3D-D4FB-0DDA-04B3690C5A2A}" dt="2025-05-19T21:40:12.937" v="129"/>
        <pc:sldMkLst>
          <pc:docMk/>
          <pc:sldMk cId="1557239451" sldId="832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39:54.202" v="128"/>
        <pc:sldMkLst>
          <pc:docMk/>
          <pc:sldMk cId="1941400855" sldId="833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58:32.616" v="236" actId="20577"/>
        <pc:sldMkLst>
          <pc:docMk/>
          <pc:sldMk cId="2127015796" sldId="834"/>
        </pc:sldMkLst>
      </pc:sldChg>
      <pc:sldChg chg="delSp">
        <pc:chgData name="Henig, Sarit" userId="S::sarit.henig@mheducation.com::ad83c6bf-9a7d-4a88-b545-e6e8836bd6ee" providerId="AD" clId="Web-{DD0C13B9-6A3D-D4FB-0DDA-04B3690C5A2A}" dt="2025-05-19T22:01:08.276" v="256"/>
        <pc:sldMkLst>
          <pc:docMk/>
          <pc:sldMk cId="1020506784" sldId="835"/>
        </pc:sldMkLst>
      </pc:sldChg>
      <pc:sldChg chg="delSp">
        <pc:chgData name="Henig, Sarit" userId="S::sarit.henig@mheducation.com::ad83c6bf-9a7d-4a88-b545-e6e8836bd6ee" providerId="AD" clId="Web-{DD0C13B9-6A3D-D4FB-0DDA-04B3690C5A2A}" dt="2025-05-19T22:01:16.917" v="259"/>
        <pc:sldMkLst>
          <pc:docMk/>
          <pc:sldMk cId="3302861553" sldId="836"/>
        </pc:sldMkLst>
      </pc:sldChg>
      <pc:sldChg chg="del">
        <pc:chgData name="Henig, Sarit" userId="S::sarit.henig@mheducation.com::ad83c6bf-9a7d-4a88-b545-e6e8836bd6ee" providerId="AD" clId="Web-{DD0C13B9-6A3D-D4FB-0DDA-04B3690C5A2A}" dt="2025-05-19T22:28:20.436" v="495"/>
        <pc:sldMkLst>
          <pc:docMk/>
          <pc:sldMk cId="3611951872" sldId="838"/>
        </pc:sldMkLst>
      </pc:sldChg>
      <pc:sldChg chg="delSp">
        <pc:chgData name="Henig, Sarit" userId="S::sarit.henig@mheducation.com::ad83c6bf-9a7d-4a88-b545-e6e8836bd6ee" providerId="AD" clId="Web-{DD0C13B9-6A3D-D4FB-0DDA-04B3690C5A2A}" dt="2025-05-19T22:04:55.500" v="300"/>
        <pc:sldMkLst>
          <pc:docMk/>
          <pc:sldMk cId="2968494876" sldId="842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26:15.917" v="459" actId="20577"/>
        <pc:sldMkLst>
          <pc:docMk/>
          <pc:sldMk cId="52177719" sldId="843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8:34.832" v="348" actId="20577"/>
        <pc:sldMkLst>
          <pc:docMk/>
          <pc:sldMk cId="3431343996" sldId="844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9:03.255" v="355" actId="20577"/>
        <pc:sldMkLst>
          <pc:docMk/>
          <pc:sldMk cId="2279243532" sldId="845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8:37.020" v="349" actId="20577"/>
        <pc:sldMkLst>
          <pc:docMk/>
          <pc:sldMk cId="3793010207" sldId="846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8:40.098" v="352" actId="20577"/>
        <pc:sldMkLst>
          <pc:docMk/>
          <pc:sldMk cId="3662818759" sldId="847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8:42.879" v="353" actId="20577"/>
        <pc:sldMkLst>
          <pc:docMk/>
          <pc:sldMk cId="2335909723" sldId="848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8:46.833" v="354" actId="20577"/>
        <pc:sldMkLst>
          <pc:docMk/>
          <pc:sldMk cId="1238119260" sldId="849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9:07.302" v="356" actId="20577"/>
        <pc:sldMkLst>
          <pc:docMk/>
          <pc:sldMk cId="45507541" sldId="851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9:11.427" v="357" actId="20577"/>
        <pc:sldMkLst>
          <pc:docMk/>
          <pc:sldMk cId="1056654386" sldId="852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57:02.050" v="814" actId="20577"/>
        <pc:sldMkLst>
          <pc:docMk/>
          <pc:sldMk cId="666288661" sldId="853"/>
        </pc:sldMkLst>
      </pc:sldChg>
      <pc:sldChg chg="delSp">
        <pc:chgData name="Henig, Sarit" userId="S::sarit.henig@mheducation.com::ad83c6bf-9a7d-4a88-b545-e6e8836bd6ee" providerId="AD" clId="Web-{DD0C13B9-6A3D-D4FB-0DDA-04B3690C5A2A}" dt="2025-05-19T22:04:58.390" v="303"/>
        <pc:sldMkLst>
          <pc:docMk/>
          <pc:sldMk cId="2107797622" sldId="856"/>
        </pc:sldMkLst>
      </pc:sldChg>
      <pc:sldChg chg="del">
        <pc:chgData name="Henig, Sarit" userId="S::sarit.henig@mheducation.com::ad83c6bf-9a7d-4a88-b545-e6e8836bd6ee" providerId="AD" clId="Web-{DD0C13B9-6A3D-D4FB-0DDA-04B3690C5A2A}" dt="2025-05-19T22:28:07.592" v="475"/>
        <pc:sldMkLst>
          <pc:docMk/>
          <pc:sldMk cId="2181702431" sldId="857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1.217" v="476"/>
        <pc:sldMkLst>
          <pc:docMk/>
          <pc:sldMk cId="1526981315" sldId="858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9.858" v="491"/>
        <pc:sldMkLst>
          <pc:docMk/>
          <pc:sldMk cId="507946303" sldId="859"/>
        </pc:sldMkLst>
      </pc:sldChg>
      <pc:sldChg chg="del">
        <pc:chgData name="Henig, Sarit" userId="S::sarit.henig@mheducation.com::ad83c6bf-9a7d-4a88-b545-e6e8836bd6ee" providerId="AD" clId="Web-{DD0C13B9-6A3D-D4FB-0DDA-04B3690C5A2A}" dt="2025-05-19T22:28:20.092" v="492"/>
        <pc:sldMkLst>
          <pc:docMk/>
          <pc:sldMk cId="3554627017" sldId="860"/>
        </pc:sldMkLst>
      </pc:sldChg>
      <pc:sldChg chg="del">
        <pc:chgData name="Henig, Sarit" userId="S::sarit.henig@mheducation.com::ad83c6bf-9a7d-4a88-b545-e6e8836bd6ee" providerId="AD" clId="Web-{DD0C13B9-6A3D-D4FB-0DDA-04B3690C5A2A}" dt="2025-05-19T22:28:20.217" v="493"/>
        <pc:sldMkLst>
          <pc:docMk/>
          <pc:sldMk cId="553916527" sldId="861"/>
        </pc:sldMkLst>
      </pc:sldChg>
      <pc:sldChg chg="delSp">
        <pc:chgData name="Henig, Sarit" userId="S::sarit.henig@mheducation.com::ad83c6bf-9a7d-4a88-b545-e6e8836bd6ee" providerId="AD" clId="Web-{DD0C13B9-6A3D-D4FB-0DDA-04B3690C5A2A}" dt="2025-05-19T22:01:14.011" v="258"/>
        <pc:sldMkLst>
          <pc:docMk/>
          <pc:sldMk cId="1950814340" sldId="862"/>
        </pc:sldMkLst>
      </pc:sldChg>
      <pc:sldChg chg="delSp">
        <pc:chgData name="Henig, Sarit" userId="S::sarit.henig@mheducation.com::ad83c6bf-9a7d-4a88-b545-e6e8836bd6ee" providerId="AD" clId="Web-{DD0C13B9-6A3D-D4FB-0DDA-04B3690C5A2A}" dt="2025-05-19T22:55:36.064" v="811"/>
        <pc:sldMkLst>
          <pc:docMk/>
          <pc:sldMk cId="572236885" sldId="863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3:43.123" v="281" actId="20577"/>
        <pc:sldMkLst>
          <pc:docMk/>
          <pc:sldMk cId="1218129453" sldId="864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54:14.750" v="800" actId="20577"/>
        <pc:sldMkLst>
          <pc:docMk/>
          <pc:sldMk cId="2554045213" sldId="865"/>
        </pc:sldMkLst>
      </pc:sldChg>
      <pc:sldChg chg="modSp">
        <pc:chgData name="Henig, Sarit" userId="S::sarit.henig@mheducation.com::ad83c6bf-9a7d-4a88-b545-e6e8836bd6ee" providerId="AD" clId="Web-{DD0C13B9-6A3D-D4FB-0DDA-04B3690C5A2A}" dt="2025-05-19T21:10:07.911" v="89" actId="1076"/>
        <pc:sldMkLst>
          <pc:docMk/>
          <pc:sldMk cId="3823148781" sldId="866"/>
        </pc:sldMkLst>
        <pc:spChg chg="mod">
          <ac:chgData name="Henig, Sarit" userId="S::sarit.henig@mheducation.com::ad83c6bf-9a7d-4a88-b545-e6e8836bd6ee" providerId="AD" clId="Web-{DD0C13B9-6A3D-D4FB-0DDA-04B3690C5A2A}" dt="2025-05-19T21:10:07.911" v="89" actId="1076"/>
          <ac:spMkLst>
            <pc:docMk/>
            <pc:sldMk cId="3823148781" sldId="866"/>
            <ac:spMk id="10" creationId="{E182B4A1-71EF-18ED-DCD8-78270D5BD1D7}"/>
          </ac:spMkLst>
        </pc:spChg>
      </pc:sldChg>
      <pc:sldChg chg="delSp modSp">
        <pc:chgData name="Henig, Sarit" userId="S::sarit.henig@mheducation.com::ad83c6bf-9a7d-4a88-b545-e6e8836bd6ee" providerId="AD" clId="Web-{DD0C13B9-6A3D-D4FB-0DDA-04B3690C5A2A}" dt="2025-05-19T22:54:29.782" v="804" actId="20577"/>
        <pc:sldMkLst>
          <pc:docMk/>
          <pc:sldMk cId="1232343035" sldId="868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54:26.250" v="803" actId="20577"/>
        <pc:sldMkLst>
          <pc:docMk/>
          <pc:sldMk cId="3002227915" sldId="870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20:17.686" v="119"/>
        <pc:sldMkLst>
          <pc:docMk/>
          <pc:sldMk cId="33280532" sldId="871"/>
        </pc:sldMkLst>
      </pc:sldChg>
      <pc:sldChg chg="del mod ord modShow">
        <pc:chgData name="Henig, Sarit" userId="S::sarit.henig@mheducation.com::ad83c6bf-9a7d-4a88-b545-e6e8836bd6ee" providerId="AD" clId="Web-{DD0C13B9-6A3D-D4FB-0DDA-04B3690C5A2A}" dt="2025-05-19T22:10:27.475" v="362"/>
        <pc:sldMkLst>
          <pc:docMk/>
          <pc:sldMk cId="697184402" sldId="872"/>
        </pc:sldMkLst>
      </pc:sldChg>
      <pc:sldChg chg="delSp">
        <pc:chgData name="Henig, Sarit" userId="S::sarit.henig@mheducation.com::ad83c6bf-9a7d-4a88-b545-e6e8836bd6ee" providerId="AD" clId="Web-{DD0C13B9-6A3D-D4FB-0DDA-04B3690C5A2A}" dt="2025-05-19T22:02:13.856" v="270"/>
        <pc:sldMkLst>
          <pc:docMk/>
          <pc:sldMk cId="2634225923" sldId="873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41:20.642" v="141" actId="14100"/>
        <pc:sldMkLst>
          <pc:docMk/>
          <pc:sldMk cId="1160179768" sldId="875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41:08.126" v="138" actId="14100"/>
        <pc:sldMkLst>
          <pc:docMk/>
          <pc:sldMk cId="371553013" sldId="876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1:40:39.766" v="134" actId="14100"/>
        <pc:sldMkLst>
          <pc:docMk/>
          <pc:sldMk cId="2463117656" sldId="877"/>
        </pc:sldMkLst>
        <pc:picChg chg="mod">
          <ac:chgData name="Henig, Sarit" userId="S::sarit.henig@mheducation.com::ad83c6bf-9a7d-4a88-b545-e6e8836bd6ee" providerId="AD" clId="Web-{DD0C13B9-6A3D-D4FB-0DDA-04B3690C5A2A}" dt="2025-05-19T21:40:39.766" v="134" actId="14100"/>
          <ac:picMkLst>
            <pc:docMk/>
            <pc:sldMk cId="2463117656" sldId="877"/>
            <ac:picMk id="7" creationId="{9DCAB839-3EB0-FA8E-0548-D5834DC754E4}"/>
          </ac:picMkLst>
        </pc:picChg>
      </pc:sldChg>
      <pc:sldChg chg="delSp modSp">
        <pc:chgData name="Henig, Sarit" userId="S::sarit.henig@mheducation.com::ad83c6bf-9a7d-4a88-b545-e6e8836bd6ee" providerId="AD" clId="Web-{DD0C13B9-6A3D-D4FB-0DDA-04B3690C5A2A}" dt="2025-05-19T21:40:33.734" v="133" actId="14100"/>
        <pc:sldMkLst>
          <pc:docMk/>
          <pc:sldMk cId="1101454747" sldId="878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01:04.120" v="255"/>
        <pc:sldMkLst>
          <pc:docMk/>
          <pc:sldMk cId="3876605206" sldId="879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3.186" v="479"/>
        <pc:sldMkLst>
          <pc:docMk/>
          <pc:sldMk cId="1863471466" sldId="880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3.842" v="480"/>
        <pc:sldMkLst>
          <pc:docMk/>
          <pc:sldMk cId="115510793" sldId="881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2.795" v="478"/>
        <pc:sldMkLst>
          <pc:docMk/>
          <pc:sldMk cId="647480191" sldId="882"/>
        </pc:sldMkLst>
      </pc:sldChg>
      <pc:sldChg chg="del">
        <pc:chgData name="Henig, Sarit" userId="S::sarit.henig@mheducation.com::ad83c6bf-9a7d-4a88-b545-e6e8836bd6ee" providerId="AD" clId="Web-{DD0C13B9-6A3D-D4FB-0DDA-04B3690C5A2A}" dt="2025-05-19T22:28:12.342" v="477"/>
        <pc:sldMkLst>
          <pc:docMk/>
          <pc:sldMk cId="2847282358" sldId="883"/>
        </pc:sldMkLst>
      </pc:sldChg>
      <pc:sldChg chg="delSp">
        <pc:chgData name="Henig, Sarit" userId="S::sarit.henig@mheducation.com::ad83c6bf-9a7d-4a88-b545-e6e8836bd6ee" providerId="AD" clId="Web-{DD0C13B9-6A3D-D4FB-0DDA-04B3690C5A2A}" dt="2025-05-19T22:24:45.337" v="438"/>
        <pc:sldMkLst>
          <pc:docMk/>
          <pc:sldMk cId="1908401913" sldId="884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56:58.066" v="813" actId="20577"/>
        <pc:sldMkLst>
          <pc:docMk/>
          <pc:sldMk cId="175665335" sldId="885"/>
        </pc:sldMkLst>
      </pc:sldChg>
      <pc:sldChg chg="delSp">
        <pc:chgData name="Henig, Sarit" userId="S::sarit.henig@mheducation.com::ad83c6bf-9a7d-4a88-b545-e6e8836bd6ee" providerId="AD" clId="Web-{DD0C13B9-6A3D-D4FB-0DDA-04B3690C5A2A}" dt="2025-05-19T21:42:56.253" v="154"/>
        <pc:sldMkLst>
          <pc:docMk/>
          <pc:sldMk cId="1345630900" sldId="886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57:05.019" v="815" actId="20577"/>
        <pc:sldMkLst>
          <pc:docMk/>
          <pc:sldMk cId="2955950541" sldId="887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25:54.198" v="457" actId="20577"/>
        <pc:sldMkLst>
          <pc:docMk/>
          <pc:sldMk cId="1760704136" sldId="888"/>
        </pc:sldMkLst>
      </pc:sldChg>
      <pc:sldChg chg="delSp modSp add del">
        <pc:chgData name="Henig, Sarit" userId="S::sarit.henig@mheducation.com::ad83c6bf-9a7d-4a88-b545-e6e8836bd6ee" providerId="AD" clId="Web-{DD0C13B9-6A3D-D4FB-0DDA-04B3690C5A2A}" dt="2025-05-19T21:47:25.415" v="169"/>
        <pc:sldMkLst>
          <pc:docMk/>
          <pc:sldMk cId="2687483951" sldId="891"/>
        </pc:sldMkLst>
      </pc:sldChg>
      <pc:sldChg chg="delSp modSp add del">
        <pc:chgData name="Henig, Sarit" userId="S::sarit.henig@mheducation.com::ad83c6bf-9a7d-4a88-b545-e6e8836bd6ee" providerId="AD" clId="Web-{DD0C13B9-6A3D-D4FB-0DDA-04B3690C5A2A}" dt="2025-05-19T22:56:18.362" v="812" actId="20577"/>
        <pc:sldMkLst>
          <pc:docMk/>
          <pc:sldMk cId="640699691" sldId="892"/>
        </pc:sldMkLst>
      </pc:sldChg>
      <pc:sldChg chg="delSp add del">
        <pc:chgData name="Henig, Sarit" userId="S::sarit.henig@mheducation.com::ad83c6bf-9a7d-4a88-b545-e6e8836bd6ee" providerId="AD" clId="Web-{DD0C13B9-6A3D-D4FB-0DDA-04B3690C5A2A}" dt="2025-05-19T21:47:48.353" v="176"/>
        <pc:sldMkLst>
          <pc:docMk/>
          <pc:sldMk cId="2055400002" sldId="895"/>
        </pc:sldMkLst>
      </pc:sldChg>
      <pc:sldChg chg="delSp add del">
        <pc:chgData name="Henig, Sarit" userId="S::sarit.henig@mheducation.com::ad83c6bf-9a7d-4a88-b545-e6e8836bd6ee" providerId="AD" clId="Web-{DD0C13B9-6A3D-D4FB-0DDA-04B3690C5A2A}" dt="2025-05-19T21:47:37.040" v="170"/>
        <pc:sldMkLst>
          <pc:docMk/>
          <pc:sldMk cId="319337914" sldId="896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25:12.885" v="444" actId="20577"/>
        <pc:sldMkLst>
          <pc:docMk/>
          <pc:sldMk cId="1576159621" sldId="897"/>
        </pc:sldMkLst>
      </pc:sldChg>
      <pc:sldChg chg="del">
        <pc:chgData name="Henig, Sarit" userId="S::sarit.henig@mheducation.com::ad83c6bf-9a7d-4a88-b545-e6e8836bd6ee" providerId="AD" clId="Web-{DD0C13B9-6A3D-D4FB-0DDA-04B3690C5A2A}" dt="2025-05-19T22:10:04.256" v="359"/>
        <pc:sldMkLst>
          <pc:docMk/>
          <pc:sldMk cId="4269703100" sldId="898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57:49.020" v="821" actId="20577"/>
        <pc:sldMkLst>
          <pc:docMk/>
          <pc:sldMk cId="4292939914" sldId="899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57:44.973" v="820" actId="20577"/>
        <pc:sldMkLst>
          <pc:docMk/>
          <pc:sldMk cId="1351692264" sldId="900"/>
        </pc:sldMkLst>
      </pc:sldChg>
      <pc:sldChg chg="delSp del mod modShow">
        <pc:chgData name="Henig, Sarit" userId="S::sarit.henig@mheducation.com::ad83c6bf-9a7d-4a88-b545-e6e8836bd6ee" providerId="AD" clId="Web-{DD0C13B9-6A3D-D4FB-0DDA-04B3690C5A2A}" dt="2025-05-19T22:14:44.934" v="368"/>
        <pc:sldMkLst>
          <pc:docMk/>
          <pc:sldMk cId="2917098860" sldId="901"/>
        </pc:sldMkLst>
      </pc:sldChg>
      <pc:sldChg chg="delSp modSp">
        <pc:chgData name="Henig, Sarit" userId="S::sarit.henig@mheducation.com::ad83c6bf-9a7d-4a88-b545-e6e8836bd6ee" providerId="AD" clId="Web-{DD0C13B9-6A3D-D4FB-0DDA-04B3690C5A2A}" dt="2025-05-19T22:25:45.198" v="456"/>
        <pc:sldMkLst>
          <pc:docMk/>
          <pc:sldMk cId="246610043" sldId="902"/>
        </pc:sldMkLst>
      </pc:sldChg>
      <pc:sldChg chg="del">
        <pc:chgData name="Henig, Sarit" userId="S::sarit.henig@mheducation.com::ad83c6bf-9a7d-4a88-b545-e6e8836bd6ee" providerId="AD" clId="Web-{DD0C13B9-6A3D-D4FB-0DDA-04B3690C5A2A}" dt="2025-05-19T22:27:58.154" v="473"/>
        <pc:sldMkLst>
          <pc:docMk/>
          <pc:sldMk cId="3644431357" sldId="903"/>
        </pc:sldMkLst>
      </pc:sldChg>
      <pc:sldChg chg="del">
        <pc:chgData name="Henig, Sarit" userId="S::sarit.henig@mheducation.com::ad83c6bf-9a7d-4a88-b545-e6e8836bd6ee" providerId="AD" clId="Web-{DD0C13B9-6A3D-D4FB-0DDA-04B3690C5A2A}" dt="2025-05-19T22:28:04.732" v="474"/>
        <pc:sldMkLst>
          <pc:docMk/>
          <pc:sldMk cId="3690496217" sldId="904"/>
        </pc:sldMkLst>
      </pc:sldChg>
      <pc:sldChg chg="del">
        <pc:chgData name="Henig, Sarit" userId="S::sarit.henig@mheducation.com::ad83c6bf-9a7d-4a88-b545-e6e8836bd6ee" providerId="AD" clId="Web-{DD0C13B9-6A3D-D4FB-0DDA-04B3690C5A2A}" dt="2025-05-19T22:27:51.654" v="471"/>
        <pc:sldMkLst>
          <pc:docMk/>
          <pc:sldMk cId="1695392520" sldId="905"/>
        </pc:sldMkLst>
      </pc:sldChg>
      <pc:sldChg chg="del">
        <pc:chgData name="Henig, Sarit" userId="S::sarit.henig@mheducation.com::ad83c6bf-9a7d-4a88-b545-e6e8836bd6ee" providerId="AD" clId="Web-{DD0C13B9-6A3D-D4FB-0DDA-04B3690C5A2A}" dt="2025-05-19T22:27:54.513" v="472"/>
        <pc:sldMkLst>
          <pc:docMk/>
          <pc:sldMk cId="1204251238" sldId="906"/>
        </pc:sldMkLst>
      </pc:sldChg>
      <pc:sldChg chg="delSp">
        <pc:chgData name="Henig, Sarit" userId="S::sarit.henig@mheducation.com::ad83c6bf-9a7d-4a88-b545-e6e8836bd6ee" providerId="AD" clId="Web-{DD0C13B9-6A3D-D4FB-0DDA-04B3690C5A2A}" dt="2025-05-19T22:27:44.310" v="468"/>
        <pc:sldMkLst>
          <pc:docMk/>
          <pc:sldMk cId="2352204780" sldId="907"/>
        </pc:sldMkLst>
      </pc:sldChg>
      <pc:sldChg chg="del">
        <pc:chgData name="Henig, Sarit" userId="S::sarit.henig@mheducation.com::ad83c6bf-9a7d-4a88-b545-e6e8836bd6ee" providerId="AD" clId="Web-{DD0C13B9-6A3D-D4FB-0DDA-04B3690C5A2A}" dt="2025-05-19T22:27:49.388" v="469"/>
        <pc:sldMkLst>
          <pc:docMk/>
          <pc:sldMk cId="3224720620" sldId="908"/>
        </pc:sldMkLst>
      </pc:sldChg>
      <pc:sldChg chg="del">
        <pc:chgData name="Henig, Sarit" userId="S::sarit.henig@mheducation.com::ad83c6bf-9a7d-4a88-b545-e6e8836bd6ee" providerId="AD" clId="Web-{DD0C13B9-6A3D-D4FB-0DDA-04B3690C5A2A}" dt="2025-05-19T22:27:50.373" v="470"/>
        <pc:sldMkLst>
          <pc:docMk/>
          <pc:sldMk cId="1362842606" sldId="909"/>
        </pc:sldMkLst>
      </pc:sldChg>
      <pc:sldChg chg="add mod modShow">
        <pc:chgData name="Henig, Sarit" userId="S::sarit.henig@mheducation.com::ad83c6bf-9a7d-4a88-b545-e6e8836bd6ee" providerId="AD" clId="Web-{DD0C13B9-6A3D-D4FB-0DDA-04B3690C5A2A}" dt="2025-05-19T21:58:04.725" v="233"/>
        <pc:sldMkLst>
          <pc:docMk/>
          <pc:sldMk cId="3676257074" sldId="910"/>
        </pc:sldMkLst>
      </pc:sldChg>
      <pc:sldChg chg="add mod modShow">
        <pc:chgData name="Henig, Sarit" userId="S::sarit.henig@mheducation.com::ad83c6bf-9a7d-4a88-b545-e6e8836bd6ee" providerId="AD" clId="Web-{DD0C13B9-6A3D-D4FB-0DDA-04B3690C5A2A}" dt="2025-05-19T21:58:04.413" v="230"/>
        <pc:sldMkLst>
          <pc:docMk/>
          <pc:sldMk cId="1705168920" sldId="911"/>
        </pc:sldMkLst>
      </pc:sldChg>
      <pc:sldChg chg="add mod modShow">
        <pc:chgData name="Henig, Sarit" userId="S::sarit.henig@mheducation.com::ad83c6bf-9a7d-4a88-b545-e6e8836bd6ee" providerId="AD" clId="Web-{DD0C13B9-6A3D-D4FB-0DDA-04B3690C5A2A}" dt="2025-05-19T21:58:04.522" v="231"/>
        <pc:sldMkLst>
          <pc:docMk/>
          <pc:sldMk cId="3079800789" sldId="912"/>
        </pc:sldMkLst>
      </pc:sldChg>
      <pc:sldChg chg="add mod modShow">
        <pc:chgData name="Henig, Sarit" userId="S::sarit.henig@mheducation.com::ad83c6bf-9a7d-4a88-b545-e6e8836bd6ee" providerId="AD" clId="Web-{DD0C13B9-6A3D-D4FB-0DDA-04B3690C5A2A}" dt="2025-05-19T21:58:04.663" v="232"/>
        <pc:sldMkLst>
          <pc:docMk/>
          <pc:sldMk cId="2197605600" sldId="913"/>
        </pc:sldMkLst>
      </pc:sldChg>
      <pc:sldChg chg="modSp add">
        <pc:chgData name="Henig, Sarit" userId="S::sarit.henig@mheducation.com::ad83c6bf-9a7d-4a88-b545-e6e8836bd6ee" providerId="AD" clId="Web-{DD0C13B9-6A3D-D4FB-0DDA-04B3690C5A2A}" dt="2025-05-19T22:57:32.551" v="816" actId="20577"/>
        <pc:sldMkLst>
          <pc:docMk/>
          <pc:sldMk cId="1586874608" sldId="914"/>
        </pc:sldMkLst>
      </pc:sldChg>
      <pc:sldChg chg="modSp add">
        <pc:chgData name="Henig, Sarit" userId="S::sarit.henig@mheducation.com::ad83c6bf-9a7d-4a88-b545-e6e8836bd6ee" providerId="AD" clId="Web-{DD0C13B9-6A3D-D4FB-0DDA-04B3690C5A2A}" dt="2025-05-19T22:57:34.739" v="817" actId="20577"/>
        <pc:sldMkLst>
          <pc:docMk/>
          <pc:sldMk cId="3935712624" sldId="915"/>
        </pc:sldMkLst>
      </pc:sldChg>
      <pc:sldChg chg="modSp add">
        <pc:chgData name="Henig, Sarit" userId="S::sarit.henig@mheducation.com::ad83c6bf-9a7d-4a88-b545-e6e8836bd6ee" providerId="AD" clId="Web-{DD0C13B9-6A3D-D4FB-0DDA-04B3690C5A2A}" dt="2025-05-19T22:57:37.645" v="818" actId="20577"/>
        <pc:sldMkLst>
          <pc:docMk/>
          <pc:sldMk cId="3366630344" sldId="916"/>
        </pc:sldMkLst>
      </pc:sldChg>
      <pc:sldChg chg="modSp add">
        <pc:chgData name="Henig, Sarit" userId="S::sarit.henig@mheducation.com::ad83c6bf-9a7d-4a88-b545-e6e8836bd6ee" providerId="AD" clId="Web-{DD0C13B9-6A3D-D4FB-0DDA-04B3690C5A2A}" dt="2025-05-19T22:57:40.786" v="819" actId="20577"/>
        <pc:sldMkLst>
          <pc:docMk/>
          <pc:sldMk cId="1000693420" sldId="917"/>
        </pc:sldMkLst>
      </pc:sldChg>
      <pc:sldChg chg="add">
        <pc:chgData name="Henig, Sarit" userId="S::sarit.henig@mheducation.com::ad83c6bf-9a7d-4a88-b545-e6e8836bd6ee" providerId="AD" clId="Web-{DD0C13B9-6A3D-D4FB-0DDA-04B3690C5A2A}" dt="2025-05-19T22:09:53.818" v="358"/>
        <pc:sldMkLst>
          <pc:docMk/>
          <pc:sldMk cId="2499750345" sldId="918"/>
        </pc:sldMkLst>
      </pc:sldChg>
      <pc:sldChg chg="add del ord">
        <pc:chgData name="Henig, Sarit" userId="S::sarit.henig@mheducation.com::ad83c6bf-9a7d-4a88-b545-e6e8836bd6ee" providerId="AD" clId="Web-{DD0C13B9-6A3D-D4FB-0DDA-04B3690C5A2A}" dt="2025-05-19T22:17:40.172" v="392"/>
        <pc:sldMkLst>
          <pc:docMk/>
          <pc:sldMk cId="838202527" sldId="919"/>
        </pc:sldMkLst>
      </pc:sldChg>
      <pc:sldChg chg="add del ord">
        <pc:chgData name="Henig, Sarit" userId="S::sarit.henig@mheducation.com::ad83c6bf-9a7d-4a88-b545-e6e8836bd6ee" providerId="AD" clId="Web-{DD0C13B9-6A3D-D4FB-0DDA-04B3690C5A2A}" dt="2025-05-19T22:19:06.596" v="427"/>
        <pc:sldMkLst>
          <pc:docMk/>
          <pc:sldMk cId="3465024175" sldId="920"/>
        </pc:sldMkLst>
      </pc:sldChg>
      <pc:sldChg chg="addSp delSp modSp add replId">
        <pc:chgData name="Henig, Sarit" userId="S::sarit.henig@mheducation.com::ad83c6bf-9a7d-4a88-b545-e6e8836bd6ee" providerId="AD" clId="Web-{DD0C13B9-6A3D-D4FB-0DDA-04B3690C5A2A}" dt="2025-05-19T22:17:31.047" v="390" actId="20577"/>
        <pc:sldMkLst>
          <pc:docMk/>
          <pc:sldMk cId="673178696" sldId="921"/>
        </pc:sldMkLst>
        <pc:spChg chg="add mod">
          <ac:chgData name="Henig, Sarit" userId="S::sarit.henig@mheducation.com::ad83c6bf-9a7d-4a88-b545-e6e8836bd6ee" providerId="AD" clId="Web-{DD0C13B9-6A3D-D4FB-0DDA-04B3690C5A2A}" dt="2025-05-19T22:17:31.047" v="390" actId="20577"/>
          <ac:spMkLst>
            <pc:docMk/>
            <pc:sldMk cId="673178696" sldId="921"/>
            <ac:spMk id="9" creationId="{04919D9B-5B7C-9214-E598-94D20ED89F98}"/>
          </ac:spMkLst>
        </pc:spChg>
        <pc:spChg chg="add">
          <ac:chgData name="Henig, Sarit" userId="S::sarit.henig@mheducation.com::ad83c6bf-9a7d-4a88-b545-e6e8836bd6ee" providerId="AD" clId="Web-{DD0C13B9-6A3D-D4FB-0DDA-04B3690C5A2A}" dt="2025-05-19T22:17:21.453" v="380"/>
          <ac:spMkLst>
            <pc:docMk/>
            <pc:sldMk cId="673178696" sldId="921"/>
            <ac:spMk id="17" creationId="{42CA7E5D-8879-FB6D-FC14-543B8C66B393}"/>
          </ac:spMkLst>
        </pc:spChg>
        <pc:spChg chg="add">
          <ac:chgData name="Henig, Sarit" userId="S::sarit.henig@mheducation.com::ad83c6bf-9a7d-4a88-b545-e6e8836bd6ee" providerId="AD" clId="Web-{DD0C13B9-6A3D-D4FB-0DDA-04B3690C5A2A}" dt="2025-05-19T22:17:21.469" v="381"/>
          <ac:spMkLst>
            <pc:docMk/>
            <pc:sldMk cId="673178696" sldId="921"/>
            <ac:spMk id="19" creationId="{24357D24-178B-42E5-AB3D-6FDD8A46F991}"/>
          </ac:spMkLst>
        </pc:spChg>
        <pc:spChg chg="add">
          <ac:chgData name="Henig, Sarit" userId="S::sarit.henig@mheducation.com::ad83c6bf-9a7d-4a88-b545-e6e8836bd6ee" providerId="AD" clId="Web-{DD0C13B9-6A3D-D4FB-0DDA-04B3690C5A2A}" dt="2025-05-19T22:17:21.469" v="382"/>
          <ac:spMkLst>
            <pc:docMk/>
            <pc:sldMk cId="673178696" sldId="921"/>
            <ac:spMk id="21" creationId="{828A1D04-FFA7-A18E-39EB-83779F730771}"/>
          </ac:spMkLst>
        </pc:spChg>
        <pc:spChg chg="add">
          <ac:chgData name="Henig, Sarit" userId="S::sarit.henig@mheducation.com::ad83c6bf-9a7d-4a88-b545-e6e8836bd6ee" providerId="AD" clId="Web-{DD0C13B9-6A3D-D4FB-0DDA-04B3690C5A2A}" dt="2025-05-19T22:17:21.484" v="383"/>
          <ac:spMkLst>
            <pc:docMk/>
            <pc:sldMk cId="673178696" sldId="921"/>
            <ac:spMk id="23" creationId="{D44B6544-82B2-43AD-ED31-6A2AB6AC827A}"/>
          </ac:spMkLst>
        </pc:spChg>
        <pc:spChg chg="add">
          <ac:chgData name="Henig, Sarit" userId="S::sarit.henig@mheducation.com::ad83c6bf-9a7d-4a88-b545-e6e8836bd6ee" providerId="AD" clId="Web-{DD0C13B9-6A3D-D4FB-0DDA-04B3690C5A2A}" dt="2025-05-19T22:17:21.500" v="384"/>
          <ac:spMkLst>
            <pc:docMk/>
            <pc:sldMk cId="673178696" sldId="921"/>
            <ac:spMk id="25" creationId="{C663C3E1-5627-25CB-FD55-C9E58B6367C0}"/>
          </ac:spMkLst>
        </pc:spChg>
        <pc:picChg chg="add">
          <ac:chgData name="Henig, Sarit" userId="S::sarit.henig@mheducation.com::ad83c6bf-9a7d-4a88-b545-e6e8836bd6ee" providerId="AD" clId="Web-{DD0C13B9-6A3D-D4FB-0DDA-04B3690C5A2A}" dt="2025-05-19T22:17:21.437" v="379"/>
          <ac:picMkLst>
            <pc:docMk/>
            <pc:sldMk cId="673178696" sldId="921"/>
            <ac:picMk id="15" creationId="{4D7329B5-9022-32EB-171E-63A1E3CCA9A1}"/>
          </ac:picMkLst>
        </pc:picChg>
      </pc:sldChg>
      <pc:sldChg chg="addSp delSp modSp add replId">
        <pc:chgData name="Henig, Sarit" userId="S::sarit.henig@mheducation.com::ad83c6bf-9a7d-4a88-b545-e6e8836bd6ee" providerId="AD" clId="Web-{DD0C13B9-6A3D-D4FB-0DDA-04B3690C5A2A}" dt="2025-05-19T22:19:04.564" v="426" actId="1076"/>
        <pc:sldMkLst>
          <pc:docMk/>
          <pc:sldMk cId="1359325907" sldId="922"/>
        </pc:sldMkLst>
        <pc:spChg chg="add mod">
          <ac:chgData name="Henig, Sarit" userId="S::sarit.henig@mheducation.com::ad83c6bf-9a7d-4a88-b545-e6e8836bd6ee" providerId="AD" clId="Web-{DD0C13B9-6A3D-D4FB-0DDA-04B3690C5A2A}" dt="2025-05-19T22:19:04.564" v="426" actId="1076"/>
          <ac:spMkLst>
            <pc:docMk/>
            <pc:sldMk cId="1359325907" sldId="922"/>
            <ac:spMk id="22" creationId="{FA73ADC0-44B8-C9A8-1083-D46A818AAF79}"/>
          </ac:spMkLst>
        </pc:spChg>
        <pc:picChg chg="add mod">
          <ac:chgData name="Henig, Sarit" userId="S::sarit.henig@mheducation.com::ad83c6bf-9a7d-4a88-b545-e6e8836bd6ee" providerId="AD" clId="Web-{DD0C13B9-6A3D-D4FB-0DDA-04B3690C5A2A}" dt="2025-05-19T22:18:37.673" v="416" actId="1076"/>
          <ac:picMkLst>
            <pc:docMk/>
            <pc:sldMk cId="1359325907" sldId="922"/>
            <ac:picMk id="7" creationId="{EE10A906-799B-8E13-E8B4-B8ECD06573B8}"/>
          </ac:picMkLst>
        </pc:picChg>
        <pc:picChg chg="add mod">
          <ac:chgData name="Henig, Sarit" userId="S::sarit.henig@mheducation.com::ad83c6bf-9a7d-4a88-b545-e6e8836bd6ee" providerId="AD" clId="Web-{DD0C13B9-6A3D-D4FB-0DDA-04B3690C5A2A}" dt="2025-05-19T22:18:37.689" v="417" actId="1076"/>
          <ac:picMkLst>
            <pc:docMk/>
            <pc:sldMk cId="1359325907" sldId="922"/>
            <ac:picMk id="10" creationId="{2BD7A65A-CB13-3540-19A1-A6F893A6D8CA}"/>
          </ac:picMkLst>
        </pc:picChg>
        <pc:picChg chg="add mod">
          <ac:chgData name="Henig, Sarit" userId="S::sarit.henig@mheducation.com::ad83c6bf-9a7d-4a88-b545-e6e8836bd6ee" providerId="AD" clId="Web-{DD0C13B9-6A3D-D4FB-0DDA-04B3690C5A2A}" dt="2025-05-19T22:18:37.689" v="418" actId="1076"/>
          <ac:picMkLst>
            <pc:docMk/>
            <pc:sldMk cId="1359325907" sldId="922"/>
            <ac:picMk id="12" creationId="{C72D5321-6A39-DE58-DBE9-530C5E8E8488}"/>
          </ac:picMkLst>
        </pc:picChg>
        <pc:picChg chg="add mod">
          <ac:chgData name="Henig, Sarit" userId="S::sarit.henig@mheducation.com::ad83c6bf-9a7d-4a88-b545-e6e8836bd6ee" providerId="AD" clId="Web-{DD0C13B9-6A3D-D4FB-0DDA-04B3690C5A2A}" dt="2025-05-19T22:18:37.736" v="420" actId="1076"/>
          <ac:picMkLst>
            <pc:docMk/>
            <pc:sldMk cId="1359325907" sldId="922"/>
            <ac:picMk id="20" creationId="{31BD18CA-E462-26DA-7134-B0B2AD11974C}"/>
          </ac:picMkLst>
        </pc:picChg>
      </pc:sldChg>
      <pc:sldChg chg="delSp modSp add">
        <pc:chgData name="Henig, Sarit" userId="S::sarit.henig@mheducation.com::ad83c6bf-9a7d-4a88-b545-e6e8836bd6ee" providerId="AD" clId="Web-{DD0C13B9-6A3D-D4FB-0DDA-04B3690C5A2A}" dt="2025-05-19T22:24:29.696" v="435" actId="20577"/>
        <pc:sldMkLst>
          <pc:docMk/>
          <pc:sldMk cId="1191358451" sldId="923"/>
        </pc:sldMkLst>
      </pc:sldChg>
      <pc:sldChg chg="delSp modSp add">
        <pc:chgData name="Henig, Sarit" userId="S::sarit.henig@mheducation.com::ad83c6bf-9a7d-4a88-b545-e6e8836bd6ee" providerId="AD" clId="Web-{DD0C13B9-6A3D-D4FB-0DDA-04B3690C5A2A}" dt="2025-05-19T22:24:34.181" v="437"/>
        <pc:sldMkLst>
          <pc:docMk/>
          <pc:sldMk cId="3652523263" sldId="924"/>
        </pc:sldMkLst>
      </pc:sldChg>
      <pc:sldMasterChg chg="addSldLayout">
        <pc:chgData name="Henig, Sarit" userId="S::sarit.henig@mheducation.com::ad83c6bf-9a7d-4a88-b545-e6e8836bd6ee" providerId="AD" clId="Web-{DD0C13B9-6A3D-D4FB-0DDA-04B3690C5A2A}" dt="2025-05-19T22:16:51.609" v="370"/>
        <pc:sldMasterMkLst>
          <pc:docMk/>
          <pc:sldMasterMk cId="3195602368" sldId="2147483929"/>
        </pc:sldMasterMkLst>
        <pc:sldLayoutChg chg="add">
          <pc:chgData name="Henig, Sarit" userId="S::sarit.henig@mheducation.com::ad83c6bf-9a7d-4a88-b545-e6e8836bd6ee" providerId="AD" clId="Web-{DD0C13B9-6A3D-D4FB-0DDA-04B3690C5A2A}" dt="2025-05-19T22:02:43.764" v="274"/>
          <pc:sldLayoutMkLst>
            <pc:docMk/>
            <pc:sldMasterMk cId="3195602368" sldId="2147483929"/>
            <pc:sldLayoutMk cId="2811912434" sldId="2147483967"/>
          </pc:sldLayoutMkLst>
        </pc:sldLayoutChg>
        <pc:sldLayoutChg chg="add">
          <pc:chgData name="Henig, Sarit" userId="S::sarit.henig@mheducation.com::ad83c6bf-9a7d-4a88-b545-e6e8836bd6ee" providerId="AD" clId="Web-{DD0C13B9-6A3D-D4FB-0DDA-04B3690C5A2A}" dt="2025-05-19T22:16:51.609" v="370"/>
          <pc:sldLayoutMkLst>
            <pc:docMk/>
            <pc:sldMasterMk cId="3195602368" sldId="2147483929"/>
            <pc:sldLayoutMk cId="3674771299" sldId="2147483968"/>
          </pc:sldLayoutMkLst>
        </pc:sldLayoutChg>
      </pc:sldMasterChg>
      <pc:sldMasterChg chg="addSldLayout">
        <pc:chgData name="Henig, Sarit" userId="S::sarit.henig@mheducation.com::ad83c6bf-9a7d-4a88-b545-e6e8836bd6ee" providerId="AD" clId="Web-{DD0C13B9-6A3D-D4FB-0DDA-04B3690C5A2A}" dt="2025-05-19T21:45:24.678" v="166"/>
        <pc:sldMasterMkLst>
          <pc:docMk/>
          <pc:sldMasterMk cId="2681735681" sldId="2147484036"/>
        </pc:sldMasterMkLst>
        <pc:sldLayoutChg chg="add replId">
          <pc:chgData name="Henig, Sarit" userId="S::sarit.henig@mheducation.com::ad83c6bf-9a7d-4a88-b545-e6e8836bd6ee" providerId="AD" clId="Web-{DD0C13B9-6A3D-D4FB-0DDA-04B3690C5A2A}" dt="2025-05-19T21:45:24.678" v="166"/>
          <pc:sldLayoutMkLst>
            <pc:docMk/>
            <pc:sldMasterMk cId="2681735681" sldId="2147484036"/>
            <pc:sldLayoutMk cId="1776914511" sldId="2147484039"/>
          </pc:sldLayoutMkLst>
        </pc:sldLayoutChg>
      </pc:sldMasterChg>
    </pc:docChg>
  </pc:docChgLst>
  <pc:docChgLst>
    <pc:chgData name="Henig, Sarit" userId="S::sarit.henig@mheducation.com::ad83c6bf-9a7d-4a88-b545-e6e8836bd6ee" providerId="AD" clId="Web-{8BE88F45-600A-8BDA-BE61-A6957AD6EDAB}"/>
    <pc:docChg chg="modSld">
      <pc:chgData name="Henig, Sarit" userId="S::sarit.henig@mheducation.com::ad83c6bf-9a7d-4a88-b545-e6e8836bd6ee" providerId="AD" clId="Web-{8BE88F45-600A-8BDA-BE61-A6957AD6EDAB}" dt="2025-05-21T21:44:21.776" v="1"/>
      <pc:docMkLst>
        <pc:docMk/>
      </pc:docMkLst>
      <pc:sldChg chg="delSp">
        <pc:chgData name="Henig, Sarit" userId="S::sarit.henig@mheducation.com::ad83c6bf-9a7d-4a88-b545-e6e8836bd6ee" providerId="AD" clId="Web-{8BE88F45-600A-8BDA-BE61-A6957AD6EDAB}" dt="2025-05-21T21:44:21.776" v="1"/>
        <pc:sldMkLst>
          <pc:docMk/>
          <pc:sldMk cId="2979897700" sldId="727"/>
        </pc:sldMkLst>
        <pc:spChg chg="del">
          <ac:chgData name="Henig, Sarit" userId="S::sarit.henig@mheducation.com::ad83c6bf-9a7d-4a88-b545-e6e8836bd6ee" providerId="AD" clId="Web-{8BE88F45-600A-8BDA-BE61-A6957AD6EDAB}" dt="2025-05-21T21:44:21.776" v="0"/>
          <ac:spMkLst>
            <pc:docMk/>
            <pc:sldMk cId="2979897700" sldId="727"/>
            <ac:spMk id="14" creationId="{2A4E5AEF-6A0D-D5F2-F1CC-DF3A91813F9C}"/>
          </ac:spMkLst>
        </pc:spChg>
        <pc:picChg chg="del">
          <ac:chgData name="Henig, Sarit" userId="S::sarit.henig@mheducation.com::ad83c6bf-9a7d-4a88-b545-e6e8836bd6ee" providerId="AD" clId="Web-{8BE88F45-600A-8BDA-BE61-A6957AD6EDAB}" dt="2025-05-21T21:44:21.776" v="1"/>
          <ac:picMkLst>
            <pc:docMk/>
            <pc:sldMk cId="2979897700" sldId="727"/>
            <ac:picMk id="9" creationId="{6CC588F3-0A16-0A85-1FF2-5C5D7F4E4C57}"/>
          </ac:picMkLst>
        </pc:picChg>
      </pc:sldChg>
    </pc:docChg>
  </pc:docChgLst>
  <pc:docChgLst>
    <pc:chgData name="Herrig, Meghan" userId="3f3061a6-9cf0-43c6-ba3b-0df8c923fc45" providerId="ADAL" clId="{62117B1D-E6DC-4246-B115-4DD4ED0449D5}"/>
    <pc:docChg chg="undo custSel modSld">
      <pc:chgData name="Herrig, Meghan" userId="3f3061a6-9cf0-43c6-ba3b-0df8c923fc45" providerId="ADAL" clId="{62117B1D-E6DC-4246-B115-4DD4ED0449D5}" dt="2025-05-22T15:08:36.777" v="158" actId="962"/>
      <pc:docMkLst>
        <pc:docMk/>
      </pc:docMkLst>
      <pc:sldChg chg="addSp delSp modSp mod">
        <pc:chgData name="Herrig, Meghan" userId="3f3061a6-9cf0-43c6-ba3b-0df8c923fc45" providerId="ADAL" clId="{62117B1D-E6DC-4246-B115-4DD4ED0449D5}" dt="2025-05-22T14:41:41.553" v="111"/>
        <pc:sldMkLst>
          <pc:docMk/>
          <pc:sldMk cId="2979897700" sldId="727"/>
        </pc:sldMkLst>
        <pc:spChg chg="mod">
          <ac:chgData name="Herrig, Meghan" userId="3f3061a6-9cf0-43c6-ba3b-0df8c923fc45" providerId="ADAL" clId="{62117B1D-E6DC-4246-B115-4DD4ED0449D5}" dt="2025-05-22T14:41:37.688" v="108" actId="962"/>
          <ac:spMkLst>
            <pc:docMk/>
            <pc:sldMk cId="2979897700" sldId="727"/>
            <ac:spMk id="2" creationId="{E54EA526-D390-E19A-BD6B-0CD609A59E60}"/>
          </ac:spMkLst>
        </pc:spChg>
        <pc:spChg chg="mod">
          <ac:chgData name="Herrig, Meghan" userId="3f3061a6-9cf0-43c6-ba3b-0df8c923fc45" providerId="ADAL" clId="{62117B1D-E6DC-4246-B115-4DD4ED0449D5}" dt="2025-05-22T14:41:39.850" v="109" actId="962"/>
          <ac:spMkLst>
            <pc:docMk/>
            <pc:sldMk cId="2979897700" sldId="727"/>
            <ac:spMk id="3" creationId="{40BDD4F1-225D-2004-AEB8-C78EE5CDD193}"/>
          </ac:spMkLst>
        </pc:spChg>
        <pc:spChg chg="del">
          <ac:chgData name="Herrig, Meghan" userId="3f3061a6-9cf0-43c6-ba3b-0df8c923fc45" providerId="ADAL" clId="{62117B1D-E6DC-4246-B115-4DD4ED0449D5}" dt="2025-05-22T13:35:46.084" v="0" actId="478"/>
          <ac:spMkLst>
            <pc:docMk/>
            <pc:sldMk cId="2979897700" sldId="727"/>
            <ac:spMk id="5" creationId="{A587EDD6-0CCE-0360-3FC6-8FB4742E8D05}"/>
          </ac:spMkLst>
        </pc:spChg>
        <pc:spChg chg="ord">
          <ac:chgData name="Herrig, Meghan" userId="3f3061a6-9cf0-43c6-ba3b-0df8c923fc45" providerId="ADAL" clId="{62117B1D-E6DC-4246-B115-4DD4ED0449D5}" dt="2025-05-22T14:41:41.553" v="111"/>
          <ac:spMkLst>
            <pc:docMk/>
            <pc:sldMk cId="2979897700" sldId="727"/>
            <ac:spMk id="6" creationId="{067892B8-AB1F-0462-871B-2BFA44332D41}"/>
          </ac:spMkLst>
        </pc:spChg>
        <pc:spChg chg="add del mod">
          <ac:chgData name="Herrig, Meghan" userId="3f3061a6-9cf0-43c6-ba3b-0df8c923fc45" providerId="ADAL" clId="{62117B1D-E6DC-4246-B115-4DD4ED0449D5}" dt="2025-05-22T13:35:59.196" v="2" actId="478"/>
          <ac:spMkLst>
            <pc:docMk/>
            <pc:sldMk cId="2979897700" sldId="727"/>
            <ac:spMk id="8" creationId="{2343D2DA-E39D-FDC5-0DA0-D87292081D49}"/>
          </ac:spMkLst>
        </pc:spChg>
      </pc:sldChg>
      <pc:sldChg chg="modSp mod">
        <pc:chgData name="Herrig, Meghan" userId="3f3061a6-9cf0-43c6-ba3b-0df8c923fc45" providerId="ADAL" clId="{62117B1D-E6DC-4246-B115-4DD4ED0449D5}" dt="2025-05-22T14:41:52.728" v="113" actId="962"/>
        <pc:sldMkLst>
          <pc:docMk/>
          <pc:sldMk cId="3211013589" sldId="749"/>
        </pc:sldMkLst>
        <pc:spChg chg="mod">
          <ac:chgData name="Herrig, Meghan" userId="3f3061a6-9cf0-43c6-ba3b-0df8c923fc45" providerId="ADAL" clId="{62117B1D-E6DC-4246-B115-4DD4ED0449D5}" dt="2025-05-22T14:41:52.234" v="112" actId="962"/>
          <ac:spMkLst>
            <pc:docMk/>
            <pc:sldMk cId="3211013589" sldId="749"/>
            <ac:spMk id="4" creationId="{A2CF8DC1-294A-3B17-394F-77CB7480A2F0}"/>
          </ac:spMkLst>
        </pc:spChg>
        <pc:spChg chg="mod">
          <ac:chgData name="Herrig, Meghan" userId="3f3061a6-9cf0-43c6-ba3b-0df8c923fc45" providerId="ADAL" clId="{62117B1D-E6DC-4246-B115-4DD4ED0449D5}" dt="2025-05-22T14:41:52.728" v="113" actId="962"/>
          <ac:spMkLst>
            <pc:docMk/>
            <pc:sldMk cId="3211013589" sldId="749"/>
            <ac:spMk id="5" creationId="{B2918B3A-34B7-765B-6FFF-954DC31DBED5}"/>
          </ac:spMkLst>
        </pc:spChg>
      </pc:sldChg>
      <pc:sldChg chg="modSp mod">
        <pc:chgData name="Herrig, Meghan" userId="3f3061a6-9cf0-43c6-ba3b-0df8c923fc45" providerId="ADAL" clId="{62117B1D-E6DC-4246-B115-4DD4ED0449D5}" dt="2025-05-22T14:59:52.346" v="132" actId="962"/>
        <pc:sldMkLst>
          <pc:docMk/>
          <pc:sldMk cId="4001432591" sldId="756"/>
        </pc:sldMkLst>
        <pc:spChg chg="mod">
          <ac:chgData name="Herrig, Meghan" userId="3f3061a6-9cf0-43c6-ba3b-0df8c923fc45" providerId="ADAL" clId="{62117B1D-E6DC-4246-B115-4DD4ED0449D5}" dt="2025-05-22T14:59:52.346" v="132" actId="962"/>
          <ac:spMkLst>
            <pc:docMk/>
            <pc:sldMk cId="4001432591" sldId="756"/>
            <ac:spMk id="3" creationId="{56B5F1E2-17B3-A013-C959-291EBE67D766}"/>
          </ac:spMkLst>
        </pc:spChg>
        <pc:spChg chg="mod">
          <ac:chgData name="Herrig, Meghan" userId="3f3061a6-9cf0-43c6-ba3b-0df8c923fc45" providerId="ADAL" clId="{62117B1D-E6DC-4246-B115-4DD4ED0449D5}" dt="2025-05-22T13:51:48.256" v="94" actId="33553"/>
          <ac:spMkLst>
            <pc:docMk/>
            <pc:sldMk cId="4001432591" sldId="756"/>
            <ac:spMk id="5" creationId="{2183292B-5D85-5CE6-D8BC-45D98E7161DE}"/>
          </ac:spMkLst>
        </pc:spChg>
        <pc:picChg chg="mod">
          <ac:chgData name="Herrig, Meghan" userId="3f3061a6-9cf0-43c6-ba3b-0df8c923fc45" providerId="ADAL" clId="{62117B1D-E6DC-4246-B115-4DD4ED0449D5}" dt="2025-05-22T13:47:14.038" v="32" actId="962"/>
          <ac:picMkLst>
            <pc:docMk/>
            <pc:sldMk cId="4001432591" sldId="756"/>
            <ac:picMk id="6" creationId="{FB1905E1-2753-B4E9-BE76-D17C5562F97A}"/>
          </ac:picMkLst>
        </pc:picChg>
      </pc:sldChg>
      <pc:sldChg chg="modSp mod modNotesTx">
        <pc:chgData name="Herrig, Meghan" userId="3f3061a6-9cf0-43c6-ba3b-0df8c923fc45" providerId="ADAL" clId="{62117B1D-E6DC-4246-B115-4DD4ED0449D5}" dt="2025-05-22T15:06:47.552" v="146" actId="962"/>
        <pc:sldMkLst>
          <pc:docMk/>
          <pc:sldMk cId="1752492807" sldId="761"/>
        </pc:sldMkLst>
        <pc:spChg chg="mod">
          <ac:chgData name="Herrig, Meghan" userId="3f3061a6-9cf0-43c6-ba3b-0df8c923fc45" providerId="ADAL" clId="{62117B1D-E6DC-4246-B115-4DD4ED0449D5}" dt="2025-05-22T15:06:47.552" v="146" actId="962"/>
          <ac:spMkLst>
            <pc:docMk/>
            <pc:sldMk cId="1752492807" sldId="761"/>
            <ac:spMk id="3" creationId="{56B5F1E2-17B3-A013-C959-291EBE67D766}"/>
          </ac:spMkLst>
        </pc:spChg>
        <pc:picChg chg="mod">
          <ac:chgData name="Herrig, Meghan" userId="3f3061a6-9cf0-43c6-ba3b-0df8c923fc45" providerId="ADAL" clId="{62117B1D-E6DC-4246-B115-4DD4ED0449D5}" dt="2025-05-22T13:51:27.397" v="85" actId="962"/>
          <ac:picMkLst>
            <pc:docMk/>
            <pc:sldMk cId="1752492807" sldId="761"/>
            <ac:picMk id="7" creationId="{67637BD4-5C8B-448B-98F7-B5F26B4401F2}"/>
          </ac:picMkLst>
        </pc:picChg>
      </pc:sldChg>
      <pc:sldChg chg="modSp mod">
        <pc:chgData name="Herrig, Meghan" userId="3f3061a6-9cf0-43c6-ba3b-0df8c923fc45" providerId="ADAL" clId="{62117B1D-E6DC-4246-B115-4DD4ED0449D5}" dt="2025-05-22T14:59:38.075" v="131"/>
        <pc:sldMkLst>
          <pc:docMk/>
          <pc:sldMk cId="1041247244" sldId="777"/>
        </pc:sldMkLst>
        <pc:spChg chg="mod">
          <ac:chgData name="Herrig, Meghan" userId="3f3061a6-9cf0-43c6-ba3b-0df8c923fc45" providerId="ADAL" clId="{62117B1D-E6DC-4246-B115-4DD4ED0449D5}" dt="2025-05-22T14:59:28.982" v="125" actId="962"/>
          <ac:spMkLst>
            <pc:docMk/>
            <pc:sldMk cId="1041247244" sldId="777"/>
            <ac:spMk id="6" creationId="{B0142E43-DE2B-6632-4863-878684C53A83}"/>
          </ac:spMkLst>
        </pc:spChg>
        <pc:spChg chg="ord">
          <ac:chgData name="Herrig, Meghan" userId="3f3061a6-9cf0-43c6-ba3b-0df8c923fc45" providerId="ADAL" clId="{62117B1D-E6DC-4246-B115-4DD4ED0449D5}" dt="2025-05-22T14:59:38.075" v="131"/>
          <ac:spMkLst>
            <pc:docMk/>
            <pc:sldMk cId="1041247244" sldId="777"/>
            <ac:spMk id="12" creationId="{AE36E08D-B7A3-325F-533A-E8193A8CCC4F}"/>
          </ac:spMkLst>
        </pc:spChg>
        <pc:picChg chg="ord">
          <ac:chgData name="Herrig, Meghan" userId="3f3061a6-9cf0-43c6-ba3b-0df8c923fc45" providerId="ADAL" clId="{62117B1D-E6DC-4246-B115-4DD4ED0449D5}" dt="2025-05-22T14:59:33.585" v="126"/>
          <ac:picMkLst>
            <pc:docMk/>
            <pc:sldMk cId="1041247244" sldId="777"/>
            <ac:picMk id="10" creationId="{6103DF3C-37C4-72FB-C49B-56BA553F5458}"/>
          </ac:picMkLst>
        </pc:picChg>
        <pc:picChg chg="mod">
          <ac:chgData name="Herrig, Meghan" userId="3f3061a6-9cf0-43c6-ba3b-0df8c923fc45" providerId="ADAL" clId="{62117B1D-E6DC-4246-B115-4DD4ED0449D5}" dt="2025-05-22T13:47:12.750" v="31" actId="962"/>
          <ac:picMkLst>
            <pc:docMk/>
            <pc:sldMk cId="1041247244" sldId="777"/>
            <ac:picMk id="14" creationId="{51A92296-2EAE-60D8-EB39-80A7247D3D93}"/>
          </ac:picMkLst>
        </pc:picChg>
      </pc:sldChg>
      <pc:sldChg chg="modSp mod">
        <pc:chgData name="Herrig, Meghan" userId="3f3061a6-9cf0-43c6-ba3b-0df8c923fc45" providerId="ADAL" clId="{62117B1D-E6DC-4246-B115-4DD4ED0449D5}" dt="2025-05-22T14:59:06.474" v="123" actId="962"/>
        <pc:sldMkLst>
          <pc:docMk/>
          <pc:sldMk cId="47872246" sldId="806"/>
        </pc:sldMkLst>
        <pc:spChg chg="mod">
          <ac:chgData name="Herrig, Meghan" userId="3f3061a6-9cf0-43c6-ba3b-0df8c923fc45" providerId="ADAL" clId="{62117B1D-E6DC-4246-B115-4DD4ED0449D5}" dt="2025-05-22T14:59:06.474" v="123" actId="962"/>
          <ac:spMkLst>
            <pc:docMk/>
            <pc:sldMk cId="47872246" sldId="806"/>
            <ac:spMk id="6" creationId="{B8BDDDD4-0CCE-5CC2-6BC3-51BFB1453DE9}"/>
          </ac:spMkLst>
        </pc:spChg>
        <pc:picChg chg="mod">
          <ac:chgData name="Herrig, Meghan" userId="3f3061a6-9cf0-43c6-ba3b-0df8c923fc45" providerId="ADAL" clId="{62117B1D-E6DC-4246-B115-4DD4ED0449D5}" dt="2025-05-22T13:47:09.881" v="29" actId="962"/>
          <ac:picMkLst>
            <pc:docMk/>
            <pc:sldMk cId="47872246" sldId="806"/>
            <ac:picMk id="2" creationId="{8FD1BB5C-83F9-D82B-97A0-611541C62A54}"/>
          </ac:picMkLst>
        </pc:picChg>
      </pc:sldChg>
      <pc:sldChg chg="addSp delSp modSp mod modNotesTx">
        <pc:chgData name="Herrig, Meghan" userId="3f3061a6-9cf0-43c6-ba3b-0df8c923fc45" providerId="ADAL" clId="{62117B1D-E6DC-4246-B115-4DD4ED0449D5}" dt="2025-05-22T15:02:43.099" v="144" actId="478"/>
        <pc:sldMkLst>
          <pc:docMk/>
          <pc:sldMk cId="1181528412" sldId="824"/>
        </pc:sldMkLst>
        <pc:spChg chg="mod">
          <ac:chgData name="Herrig, Meghan" userId="3f3061a6-9cf0-43c6-ba3b-0df8c923fc45" providerId="ADAL" clId="{62117B1D-E6DC-4246-B115-4DD4ED0449D5}" dt="2025-05-22T15:02:20.086" v="142" actId="962"/>
          <ac:spMkLst>
            <pc:docMk/>
            <pc:sldMk cId="1181528412" sldId="824"/>
            <ac:spMk id="3" creationId="{BACC8DF5-513C-EFF0-87C3-9A030980F039}"/>
          </ac:spMkLst>
        </pc:spChg>
        <pc:spChg chg="mod">
          <ac:chgData name="Herrig, Meghan" userId="3f3061a6-9cf0-43c6-ba3b-0df8c923fc45" providerId="ADAL" clId="{62117B1D-E6DC-4246-B115-4DD4ED0449D5}" dt="2025-05-22T13:52:21.098" v="101" actId="33553"/>
          <ac:spMkLst>
            <pc:docMk/>
            <pc:sldMk cId="1181528412" sldId="824"/>
            <ac:spMk id="4" creationId="{E5FB91CC-D65A-73CE-428F-676227C7C5C2}"/>
          </ac:spMkLst>
        </pc:spChg>
        <pc:spChg chg="del">
          <ac:chgData name="Herrig, Meghan" userId="3f3061a6-9cf0-43c6-ba3b-0df8c923fc45" providerId="ADAL" clId="{62117B1D-E6DC-4246-B115-4DD4ED0449D5}" dt="2025-05-22T15:02:43.099" v="144" actId="478"/>
          <ac:spMkLst>
            <pc:docMk/>
            <pc:sldMk cId="1181528412" sldId="824"/>
            <ac:spMk id="6" creationId="{A73AAF92-3090-215B-4BFB-71C29B55DEE7}"/>
          </ac:spMkLst>
        </pc:spChg>
        <pc:spChg chg="mod">
          <ac:chgData name="Herrig, Meghan" userId="3f3061a6-9cf0-43c6-ba3b-0df8c923fc45" providerId="ADAL" clId="{62117B1D-E6DC-4246-B115-4DD4ED0449D5}" dt="2025-05-22T13:51:16.573" v="82" actId="962"/>
          <ac:spMkLst>
            <pc:docMk/>
            <pc:sldMk cId="1181528412" sldId="824"/>
            <ac:spMk id="17" creationId="{105BECCD-AFC0-3C33-D86B-34BA0EE18C09}"/>
          </ac:spMkLst>
        </pc:spChg>
        <pc:spChg chg="del">
          <ac:chgData name="Herrig, Meghan" userId="3f3061a6-9cf0-43c6-ba3b-0df8c923fc45" providerId="ADAL" clId="{62117B1D-E6DC-4246-B115-4DD4ED0449D5}" dt="2025-05-22T15:02:32.756" v="143" actId="478"/>
          <ac:spMkLst>
            <pc:docMk/>
            <pc:sldMk cId="1181528412" sldId="824"/>
            <ac:spMk id="21" creationId="{A9AA3D64-21AA-4A06-750A-7BF707B37BBB}"/>
          </ac:spMkLst>
        </pc:spChg>
        <pc:spChg chg="mod">
          <ac:chgData name="Herrig, Meghan" userId="3f3061a6-9cf0-43c6-ba3b-0df8c923fc45" providerId="ADAL" clId="{62117B1D-E6DC-4246-B115-4DD4ED0449D5}" dt="2025-05-22T13:51:15.568" v="81" actId="962"/>
          <ac:spMkLst>
            <pc:docMk/>
            <pc:sldMk cId="1181528412" sldId="824"/>
            <ac:spMk id="27" creationId="{37FFEAF5-77B2-5E95-7F49-3A829C3F0E9B}"/>
          </ac:spMkLst>
        </pc:spChg>
        <pc:picChg chg="mod">
          <ac:chgData name="Herrig, Meghan" userId="3f3061a6-9cf0-43c6-ba3b-0df8c923fc45" providerId="ADAL" clId="{62117B1D-E6DC-4246-B115-4DD4ED0449D5}" dt="2025-05-22T13:50:36" v="76" actId="962"/>
          <ac:picMkLst>
            <pc:docMk/>
            <pc:sldMk cId="1181528412" sldId="824"/>
            <ac:picMk id="5" creationId="{41CA52A8-A48D-B772-0A50-036971263891}"/>
          </ac:picMkLst>
        </pc:picChg>
        <pc:picChg chg="add del mod">
          <ac:chgData name="Herrig, Meghan" userId="3f3061a6-9cf0-43c6-ba3b-0df8c923fc45" providerId="ADAL" clId="{62117B1D-E6DC-4246-B115-4DD4ED0449D5}" dt="2025-05-22T13:51:07.110" v="77" actId="962"/>
          <ac:picMkLst>
            <pc:docMk/>
            <pc:sldMk cId="1181528412" sldId="824"/>
            <ac:picMk id="10" creationId="{D52DF031-A316-9788-57AB-2E72B869836A}"/>
          </ac:picMkLst>
        </pc:picChg>
        <pc:picChg chg="add del mod">
          <ac:chgData name="Herrig, Meghan" userId="3f3061a6-9cf0-43c6-ba3b-0df8c923fc45" providerId="ADAL" clId="{62117B1D-E6DC-4246-B115-4DD4ED0449D5}" dt="2025-05-22T13:51:08.822" v="78" actId="962"/>
          <ac:picMkLst>
            <pc:docMk/>
            <pc:sldMk cId="1181528412" sldId="824"/>
            <ac:picMk id="15" creationId="{F320018B-8E98-EAAA-F1C4-5E38E03F3C75}"/>
          </ac:picMkLst>
        </pc:picChg>
        <pc:picChg chg="mod">
          <ac:chgData name="Herrig, Meghan" userId="3f3061a6-9cf0-43c6-ba3b-0df8c923fc45" providerId="ADAL" clId="{62117B1D-E6DC-4246-B115-4DD4ED0449D5}" dt="2025-05-22T13:51:13.433" v="79" actId="962"/>
          <ac:picMkLst>
            <pc:docMk/>
            <pc:sldMk cId="1181528412" sldId="824"/>
            <ac:picMk id="19" creationId="{2823C656-0E19-4989-0FEE-10A03F67CE2A}"/>
          </ac:picMkLst>
        </pc:picChg>
        <pc:picChg chg="mod">
          <ac:chgData name="Herrig, Meghan" userId="3f3061a6-9cf0-43c6-ba3b-0df8c923fc45" providerId="ADAL" clId="{62117B1D-E6DC-4246-B115-4DD4ED0449D5}" dt="2025-05-22T13:51:14.277" v="80" actId="962"/>
          <ac:picMkLst>
            <pc:docMk/>
            <pc:sldMk cId="1181528412" sldId="824"/>
            <ac:picMk id="23" creationId="{91F7F503-A5A2-5963-7326-7A0E6C0375CA}"/>
          </ac:picMkLst>
        </pc:picChg>
        <pc:picChg chg="mod">
          <ac:chgData name="Herrig, Meghan" userId="3f3061a6-9cf0-43c6-ba3b-0df8c923fc45" providerId="ADAL" clId="{62117B1D-E6DC-4246-B115-4DD4ED0449D5}" dt="2025-05-22T13:50:24.486" v="69" actId="1076"/>
          <ac:picMkLst>
            <pc:docMk/>
            <pc:sldMk cId="1181528412" sldId="824"/>
            <ac:picMk id="25" creationId="{059FE09C-9DE5-1585-FCDD-17A4742F15DD}"/>
          </ac:picMkLst>
        </pc:picChg>
      </pc:sldChg>
      <pc:sldChg chg="delSp modSp mod modNotesTx">
        <pc:chgData name="Herrig, Meghan" userId="3f3061a6-9cf0-43c6-ba3b-0df8c923fc45" providerId="ADAL" clId="{62117B1D-E6DC-4246-B115-4DD4ED0449D5}" dt="2025-05-22T15:01:34.196" v="140" actId="962"/>
        <pc:sldMkLst>
          <pc:docMk/>
          <pc:sldMk cId="53558719" sldId="825"/>
        </pc:sldMkLst>
        <pc:spChg chg="mod">
          <ac:chgData name="Herrig, Meghan" userId="3f3061a6-9cf0-43c6-ba3b-0df8c923fc45" providerId="ADAL" clId="{62117B1D-E6DC-4246-B115-4DD4ED0449D5}" dt="2025-05-22T15:01:34.196" v="140" actId="962"/>
          <ac:spMkLst>
            <pc:docMk/>
            <pc:sldMk cId="53558719" sldId="825"/>
            <ac:spMk id="3" creationId="{AD5640AA-B501-CD99-08EE-3A4C9ABD8323}"/>
          </ac:spMkLst>
        </pc:spChg>
        <pc:spChg chg="mod">
          <ac:chgData name="Herrig, Meghan" userId="3f3061a6-9cf0-43c6-ba3b-0df8c923fc45" providerId="ADAL" clId="{62117B1D-E6DC-4246-B115-4DD4ED0449D5}" dt="2025-05-22T13:52:13.848" v="99" actId="33553"/>
          <ac:spMkLst>
            <pc:docMk/>
            <pc:sldMk cId="53558719" sldId="825"/>
            <ac:spMk id="4" creationId="{F5ABE90C-6663-4708-7248-2219132F6E9D}"/>
          </ac:spMkLst>
        </pc:spChg>
        <pc:spChg chg="del">
          <ac:chgData name="Herrig, Meghan" userId="3f3061a6-9cf0-43c6-ba3b-0df8c923fc45" providerId="ADAL" clId="{62117B1D-E6DC-4246-B115-4DD4ED0449D5}" dt="2025-05-22T13:52:11.754" v="98" actId="478"/>
          <ac:spMkLst>
            <pc:docMk/>
            <pc:sldMk cId="53558719" sldId="825"/>
            <ac:spMk id="8" creationId="{285FD40C-8FBB-1AAE-EAA1-9D9D248CC834}"/>
          </ac:spMkLst>
        </pc:spChg>
        <pc:picChg chg="del">
          <ac:chgData name="Herrig, Meghan" userId="3f3061a6-9cf0-43c6-ba3b-0df8c923fc45" providerId="ADAL" clId="{62117B1D-E6DC-4246-B115-4DD4ED0449D5}" dt="2025-05-22T13:48:56.799" v="54" actId="478"/>
          <ac:picMkLst>
            <pc:docMk/>
            <pc:sldMk cId="53558719" sldId="825"/>
            <ac:picMk id="2" creationId="{2C249D3D-0477-76FF-A638-25B49D685EAF}"/>
          </ac:picMkLst>
        </pc:picChg>
        <pc:picChg chg="mod">
          <ac:chgData name="Herrig, Meghan" userId="3f3061a6-9cf0-43c6-ba3b-0df8c923fc45" providerId="ADAL" clId="{62117B1D-E6DC-4246-B115-4DD4ED0449D5}" dt="2025-05-22T13:48:53.381" v="53" actId="962"/>
          <ac:picMkLst>
            <pc:docMk/>
            <pc:sldMk cId="53558719" sldId="825"/>
            <ac:picMk id="5" creationId="{4CE92F4B-3F44-16DB-4DC7-A4C98286CCEC}"/>
          </ac:picMkLst>
        </pc:picChg>
        <pc:picChg chg="del">
          <ac:chgData name="Herrig, Meghan" userId="3f3061a6-9cf0-43c6-ba3b-0df8c923fc45" providerId="ADAL" clId="{62117B1D-E6DC-4246-B115-4DD4ED0449D5}" dt="2025-05-22T13:49:03.188" v="55" actId="478"/>
          <ac:picMkLst>
            <pc:docMk/>
            <pc:sldMk cId="53558719" sldId="825"/>
            <ac:picMk id="10" creationId="{2018317E-FE18-40EE-E0A1-3F21A535E12D}"/>
          </ac:picMkLst>
        </pc:picChg>
        <pc:picChg chg="del">
          <ac:chgData name="Herrig, Meghan" userId="3f3061a6-9cf0-43c6-ba3b-0df8c923fc45" providerId="ADAL" clId="{62117B1D-E6DC-4246-B115-4DD4ED0449D5}" dt="2025-05-22T13:49:11.898" v="56" actId="478"/>
          <ac:picMkLst>
            <pc:docMk/>
            <pc:sldMk cId="53558719" sldId="825"/>
            <ac:picMk id="11" creationId="{CBB41E95-99A6-DE7A-482F-116F739E01D3}"/>
          </ac:picMkLst>
        </pc:picChg>
      </pc:sldChg>
      <pc:sldChg chg="addSp delSp modSp mod modNotesTx">
        <pc:chgData name="Herrig, Meghan" userId="3f3061a6-9cf0-43c6-ba3b-0df8c923fc45" providerId="ADAL" clId="{62117B1D-E6DC-4246-B115-4DD4ED0449D5}" dt="2025-05-22T15:01:25.192" v="139" actId="478"/>
        <pc:sldMkLst>
          <pc:docMk/>
          <pc:sldMk cId="2821628256" sldId="826"/>
        </pc:sldMkLst>
        <pc:spChg chg="mod">
          <ac:chgData name="Herrig, Meghan" userId="3f3061a6-9cf0-43c6-ba3b-0df8c923fc45" providerId="ADAL" clId="{62117B1D-E6DC-4246-B115-4DD4ED0449D5}" dt="2025-05-22T15:01:16.904" v="138" actId="962"/>
          <ac:spMkLst>
            <pc:docMk/>
            <pc:sldMk cId="2821628256" sldId="826"/>
            <ac:spMk id="3" creationId="{A2723199-BC19-B1AB-FAA7-04EA388720BD}"/>
          </ac:spMkLst>
        </pc:spChg>
        <pc:spChg chg="mod">
          <ac:chgData name="Herrig, Meghan" userId="3f3061a6-9cf0-43c6-ba3b-0df8c923fc45" providerId="ADAL" clId="{62117B1D-E6DC-4246-B115-4DD4ED0449D5}" dt="2025-05-22T13:52:06.502" v="97" actId="33553"/>
          <ac:spMkLst>
            <pc:docMk/>
            <pc:sldMk cId="2821628256" sldId="826"/>
            <ac:spMk id="4" creationId="{1E745926-269B-F52C-7AD9-15C2EBDAD117}"/>
          </ac:spMkLst>
        </pc:spChg>
        <pc:spChg chg="del mod">
          <ac:chgData name="Herrig, Meghan" userId="3f3061a6-9cf0-43c6-ba3b-0df8c923fc45" providerId="ADAL" clId="{62117B1D-E6DC-4246-B115-4DD4ED0449D5}" dt="2025-05-22T13:48:41.870" v="50" actId="478"/>
          <ac:spMkLst>
            <pc:docMk/>
            <pc:sldMk cId="2821628256" sldId="826"/>
            <ac:spMk id="6" creationId="{86B69298-E5BF-27D6-76D4-EF9EE2AC4BE9}"/>
          </ac:spMkLst>
        </pc:spChg>
        <pc:spChg chg="del">
          <ac:chgData name="Herrig, Meghan" userId="3f3061a6-9cf0-43c6-ba3b-0df8c923fc45" providerId="ADAL" clId="{62117B1D-E6DC-4246-B115-4DD4ED0449D5}" dt="2025-05-22T15:01:25.192" v="139" actId="478"/>
          <ac:spMkLst>
            <pc:docMk/>
            <pc:sldMk cId="2821628256" sldId="826"/>
            <ac:spMk id="10" creationId="{4458C3FE-DC6A-CCDD-610F-977EA9863A40}"/>
          </ac:spMkLst>
        </pc:spChg>
        <pc:picChg chg="mod">
          <ac:chgData name="Herrig, Meghan" userId="3f3061a6-9cf0-43c6-ba3b-0df8c923fc45" providerId="ADAL" clId="{62117B1D-E6DC-4246-B115-4DD4ED0449D5}" dt="2025-05-22T13:48:00.083" v="41" actId="962"/>
          <ac:picMkLst>
            <pc:docMk/>
            <pc:sldMk cId="2821628256" sldId="826"/>
            <ac:picMk id="5" creationId="{172D71B6-4955-6CA6-A359-5C445E79F69C}"/>
          </ac:picMkLst>
        </pc:picChg>
        <pc:picChg chg="del">
          <ac:chgData name="Herrig, Meghan" userId="3f3061a6-9cf0-43c6-ba3b-0df8c923fc45" providerId="ADAL" clId="{62117B1D-E6DC-4246-B115-4DD4ED0449D5}" dt="2025-05-22T13:48:14.047" v="44" actId="478"/>
          <ac:picMkLst>
            <pc:docMk/>
            <pc:sldMk cId="2821628256" sldId="826"/>
            <ac:picMk id="7" creationId="{F60FC05A-6818-85FD-1070-DA1935677646}"/>
          </ac:picMkLst>
        </pc:picChg>
        <pc:picChg chg="del">
          <ac:chgData name="Herrig, Meghan" userId="3f3061a6-9cf0-43c6-ba3b-0df8c923fc45" providerId="ADAL" clId="{62117B1D-E6DC-4246-B115-4DD4ED0449D5}" dt="2025-05-22T13:48:38.427" v="48" actId="478"/>
          <ac:picMkLst>
            <pc:docMk/>
            <pc:sldMk cId="2821628256" sldId="826"/>
            <ac:picMk id="8" creationId="{76D4C95D-B9A6-569C-8E5B-AE625A9A7699}"/>
          </ac:picMkLst>
        </pc:picChg>
        <pc:picChg chg="add del">
          <ac:chgData name="Herrig, Meghan" userId="3f3061a6-9cf0-43c6-ba3b-0df8c923fc45" providerId="ADAL" clId="{62117B1D-E6DC-4246-B115-4DD4ED0449D5}" dt="2025-05-22T13:48:43.185" v="51" actId="478"/>
          <ac:picMkLst>
            <pc:docMk/>
            <pc:sldMk cId="2821628256" sldId="826"/>
            <ac:picMk id="11" creationId="{01DAC7D5-99D3-E97D-C0A5-3663F82E501F}"/>
          </ac:picMkLst>
        </pc:picChg>
        <pc:picChg chg="del">
          <ac:chgData name="Herrig, Meghan" userId="3f3061a6-9cf0-43c6-ba3b-0df8c923fc45" providerId="ADAL" clId="{62117B1D-E6DC-4246-B115-4DD4ED0449D5}" dt="2025-05-22T13:48:04.083" v="42" actId="478"/>
          <ac:picMkLst>
            <pc:docMk/>
            <pc:sldMk cId="2821628256" sldId="826"/>
            <ac:picMk id="12" creationId="{88208FA1-F605-E844-B3B7-75A0CC8B653A}"/>
          </ac:picMkLst>
        </pc:picChg>
        <pc:picChg chg="del">
          <ac:chgData name="Herrig, Meghan" userId="3f3061a6-9cf0-43c6-ba3b-0df8c923fc45" providerId="ADAL" clId="{62117B1D-E6DC-4246-B115-4DD4ED0449D5}" dt="2025-05-22T13:48:09.117" v="43" actId="478"/>
          <ac:picMkLst>
            <pc:docMk/>
            <pc:sldMk cId="2821628256" sldId="826"/>
            <ac:picMk id="14" creationId="{475E6895-4731-D5C2-4D34-E716FA9BEB85}"/>
          </ac:picMkLst>
        </pc:picChg>
        <pc:picChg chg="mod">
          <ac:chgData name="Herrig, Meghan" userId="3f3061a6-9cf0-43c6-ba3b-0df8c923fc45" providerId="ADAL" clId="{62117B1D-E6DC-4246-B115-4DD4ED0449D5}" dt="2025-05-22T13:48:47.445" v="52" actId="1076"/>
          <ac:picMkLst>
            <pc:docMk/>
            <pc:sldMk cId="2821628256" sldId="826"/>
            <ac:picMk id="17" creationId="{07529E64-B203-0083-8EBA-37183B81845B}"/>
          </ac:picMkLst>
        </pc:picChg>
      </pc:sldChg>
      <pc:sldChg chg="delSp modSp mod modNotesTx">
        <pc:chgData name="Herrig, Meghan" userId="3f3061a6-9cf0-43c6-ba3b-0df8c923fc45" providerId="ADAL" clId="{62117B1D-E6DC-4246-B115-4DD4ED0449D5}" dt="2025-05-22T15:00:59.613" v="137" actId="962"/>
        <pc:sldMkLst>
          <pc:docMk/>
          <pc:sldMk cId="853431891" sldId="827"/>
        </pc:sldMkLst>
        <pc:spChg chg="mod">
          <ac:chgData name="Herrig, Meghan" userId="3f3061a6-9cf0-43c6-ba3b-0df8c923fc45" providerId="ADAL" clId="{62117B1D-E6DC-4246-B115-4DD4ED0449D5}" dt="2025-05-22T15:00:59.613" v="137" actId="962"/>
          <ac:spMkLst>
            <pc:docMk/>
            <pc:sldMk cId="853431891" sldId="827"/>
            <ac:spMk id="3" creationId="{823DE1E0-F081-98B5-7C7F-C81D1BC59023}"/>
          </ac:spMkLst>
        </pc:spChg>
        <pc:spChg chg="mod">
          <ac:chgData name="Herrig, Meghan" userId="3f3061a6-9cf0-43c6-ba3b-0df8c923fc45" providerId="ADAL" clId="{62117B1D-E6DC-4246-B115-4DD4ED0449D5}" dt="2025-05-22T13:52:04.824" v="96" actId="33553"/>
          <ac:spMkLst>
            <pc:docMk/>
            <pc:sldMk cId="853431891" sldId="827"/>
            <ac:spMk id="4" creationId="{71A9899A-89AC-6F0C-D7AD-CCFD3401419D}"/>
          </ac:spMkLst>
        </pc:spChg>
        <pc:grpChg chg="mod">
          <ac:chgData name="Herrig, Meghan" userId="3f3061a6-9cf0-43c6-ba3b-0df8c923fc45" providerId="ADAL" clId="{62117B1D-E6DC-4246-B115-4DD4ED0449D5}" dt="2025-05-22T13:47:47.825" v="40" actId="1076"/>
          <ac:grpSpMkLst>
            <pc:docMk/>
            <pc:sldMk cId="853431891" sldId="827"/>
            <ac:grpSpMk id="14" creationId="{4733343C-1A2B-1EE0-0C54-B0B3B567F1E7}"/>
          </ac:grpSpMkLst>
        </pc:grpChg>
        <pc:picChg chg="mod">
          <ac:chgData name="Herrig, Meghan" userId="3f3061a6-9cf0-43c6-ba3b-0df8c923fc45" providerId="ADAL" clId="{62117B1D-E6DC-4246-B115-4DD4ED0449D5}" dt="2025-05-22T13:47:18.121" v="35" actId="962"/>
          <ac:picMkLst>
            <pc:docMk/>
            <pc:sldMk cId="853431891" sldId="827"/>
            <ac:picMk id="5" creationId="{8EA62FD0-67B8-7050-235A-3934542814F9}"/>
          </ac:picMkLst>
        </pc:picChg>
        <pc:picChg chg="del">
          <ac:chgData name="Herrig, Meghan" userId="3f3061a6-9cf0-43c6-ba3b-0df8c923fc45" providerId="ADAL" clId="{62117B1D-E6DC-4246-B115-4DD4ED0449D5}" dt="2025-05-22T13:47:32.367" v="37" actId="478"/>
          <ac:picMkLst>
            <pc:docMk/>
            <pc:sldMk cId="853431891" sldId="827"/>
            <ac:picMk id="6" creationId="{4A89E19A-70BD-1FE1-7ADE-BE63F49D11B4}"/>
          </ac:picMkLst>
        </pc:picChg>
        <pc:picChg chg="del">
          <ac:chgData name="Herrig, Meghan" userId="3f3061a6-9cf0-43c6-ba3b-0df8c923fc45" providerId="ADAL" clId="{62117B1D-E6DC-4246-B115-4DD4ED0449D5}" dt="2025-05-22T13:47:21.615" v="36" actId="478"/>
          <ac:picMkLst>
            <pc:docMk/>
            <pc:sldMk cId="853431891" sldId="827"/>
            <ac:picMk id="7" creationId="{3C5FBF02-719A-05B0-9209-3B505DD9FB99}"/>
          </ac:picMkLst>
        </pc:picChg>
        <pc:picChg chg="del">
          <ac:chgData name="Herrig, Meghan" userId="3f3061a6-9cf0-43c6-ba3b-0df8c923fc45" providerId="ADAL" clId="{62117B1D-E6DC-4246-B115-4DD4ED0449D5}" dt="2025-05-22T13:47:44.313" v="39" actId="478"/>
          <ac:picMkLst>
            <pc:docMk/>
            <pc:sldMk cId="853431891" sldId="827"/>
            <ac:picMk id="11" creationId="{FE115E73-1762-BE72-E21E-7A0BAB5839EF}"/>
          </ac:picMkLst>
        </pc:picChg>
      </pc:sldChg>
      <pc:sldChg chg="modSp mod modNotesTx">
        <pc:chgData name="Herrig, Meghan" userId="3f3061a6-9cf0-43c6-ba3b-0df8c923fc45" providerId="ADAL" clId="{62117B1D-E6DC-4246-B115-4DD4ED0449D5}" dt="2025-05-22T15:08:19.807" v="154" actId="962"/>
        <pc:sldMkLst>
          <pc:docMk/>
          <pc:sldMk cId="2659409275" sldId="830"/>
        </pc:sldMkLst>
        <pc:spChg chg="mod">
          <ac:chgData name="Herrig, Meghan" userId="3f3061a6-9cf0-43c6-ba3b-0df8c923fc45" providerId="ADAL" clId="{62117B1D-E6DC-4246-B115-4DD4ED0449D5}" dt="2025-05-22T15:08:19.807" v="154" actId="962"/>
          <ac:spMkLst>
            <pc:docMk/>
            <pc:sldMk cId="2659409275" sldId="830"/>
            <ac:spMk id="3" creationId="{CFC12CF5-2A6D-250F-0D68-A02ADF266DE0}"/>
          </ac:spMkLst>
        </pc:spChg>
        <pc:spChg chg="mod">
          <ac:chgData name="Herrig, Meghan" userId="3f3061a6-9cf0-43c6-ba3b-0df8c923fc45" providerId="ADAL" clId="{62117B1D-E6DC-4246-B115-4DD4ED0449D5}" dt="2025-05-22T13:52:44.905" v="106" actId="33553"/>
          <ac:spMkLst>
            <pc:docMk/>
            <pc:sldMk cId="2659409275" sldId="830"/>
            <ac:spMk id="4" creationId="{4DDBEFD0-351C-13DB-D55D-F55EAEF877E5}"/>
          </ac:spMkLst>
        </pc:spChg>
        <pc:picChg chg="mod">
          <ac:chgData name="Herrig, Meghan" userId="3f3061a6-9cf0-43c6-ba3b-0df8c923fc45" providerId="ADAL" clId="{62117B1D-E6DC-4246-B115-4DD4ED0449D5}" dt="2025-05-22T13:51:36.107" v="92" actId="962"/>
          <ac:picMkLst>
            <pc:docMk/>
            <pc:sldMk cId="2659409275" sldId="830"/>
            <ac:picMk id="2" creationId="{C953D034-9077-D990-6712-74D321D332A2}"/>
          </ac:picMkLst>
        </pc:picChg>
        <pc:picChg chg="mod">
          <ac:chgData name="Herrig, Meghan" userId="3f3061a6-9cf0-43c6-ba3b-0df8c923fc45" providerId="ADAL" clId="{62117B1D-E6DC-4246-B115-4DD4ED0449D5}" dt="2025-05-22T13:51:34.700" v="90" actId="962"/>
          <ac:picMkLst>
            <pc:docMk/>
            <pc:sldMk cId="2659409275" sldId="830"/>
            <ac:picMk id="5" creationId="{3651F751-DC0E-2BE1-C873-7E1D158E2DF3}"/>
          </ac:picMkLst>
        </pc:picChg>
        <pc:picChg chg="mod">
          <ac:chgData name="Herrig, Meghan" userId="3f3061a6-9cf0-43c6-ba3b-0df8c923fc45" providerId="ADAL" clId="{62117B1D-E6DC-4246-B115-4DD4ED0449D5}" dt="2025-05-22T13:51:35.433" v="91" actId="962"/>
          <ac:picMkLst>
            <pc:docMk/>
            <pc:sldMk cId="2659409275" sldId="830"/>
            <ac:picMk id="14" creationId="{E35856B0-0EC7-0B8A-ADEE-DC55B78D0284}"/>
          </ac:picMkLst>
        </pc:picChg>
      </pc:sldChg>
      <pc:sldChg chg="modSp mod modNotesTx">
        <pc:chgData name="Herrig, Meghan" userId="3f3061a6-9cf0-43c6-ba3b-0df8c923fc45" providerId="ADAL" clId="{62117B1D-E6DC-4246-B115-4DD4ED0449D5}" dt="2025-05-22T15:00:23.240" v="135" actId="962"/>
        <pc:sldMkLst>
          <pc:docMk/>
          <pc:sldMk cId="1557239451" sldId="832"/>
        </pc:sldMkLst>
        <pc:spChg chg="mod">
          <ac:chgData name="Herrig, Meghan" userId="3f3061a6-9cf0-43c6-ba3b-0df8c923fc45" providerId="ADAL" clId="{62117B1D-E6DC-4246-B115-4DD4ED0449D5}" dt="2025-05-22T15:00:10.587" v="133" actId="962"/>
          <ac:spMkLst>
            <pc:docMk/>
            <pc:sldMk cId="1557239451" sldId="832"/>
            <ac:spMk id="3" creationId="{AE87921D-3035-DC63-AD61-AFA509E963E4}"/>
          </ac:spMkLst>
        </pc:spChg>
        <pc:spChg chg="mod">
          <ac:chgData name="Herrig, Meghan" userId="3f3061a6-9cf0-43c6-ba3b-0df8c923fc45" providerId="ADAL" clId="{62117B1D-E6DC-4246-B115-4DD4ED0449D5}" dt="2025-05-22T13:51:57.982" v="95" actId="33553"/>
          <ac:spMkLst>
            <pc:docMk/>
            <pc:sldMk cId="1557239451" sldId="832"/>
            <ac:spMk id="5" creationId="{C656E0BA-3400-31A1-885E-50BE516D9354}"/>
          </ac:spMkLst>
        </pc:spChg>
        <pc:spChg chg="mod">
          <ac:chgData name="Herrig, Meghan" userId="3f3061a6-9cf0-43c6-ba3b-0df8c923fc45" providerId="ADAL" clId="{62117B1D-E6DC-4246-B115-4DD4ED0449D5}" dt="2025-05-22T15:00:17.758" v="134" actId="962"/>
          <ac:spMkLst>
            <pc:docMk/>
            <pc:sldMk cId="1557239451" sldId="832"/>
            <ac:spMk id="10" creationId="{EB34A92C-1959-BED0-600B-4E790B250D9E}"/>
          </ac:spMkLst>
        </pc:spChg>
        <pc:spChg chg="mod">
          <ac:chgData name="Herrig, Meghan" userId="3f3061a6-9cf0-43c6-ba3b-0df8c923fc45" providerId="ADAL" clId="{62117B1D-E6DC-4246-B115-4DD4ED0449D5}" dt="2025-05-22T15:00:23.240" v="135" actId="962"/>
          <ac:spMkLst>
            <pc:docMk/>
            <pc:sldMk cId="1557239451" sldId="832"/>
            <ac:spMk id="12" creationId="{8403C93B-0C5C-6EBA-38B9-CDC91690D486}"/>
          </ac:spMkLst>
        </pc:spChg>
        <pc:picChg chg="mod">
          <ac:chgData name="Herrig, Meghan" userId="3f3061a6-9cf0-43c6-ba3b-0df8c923fc45" providerId="ADAL" clId="{62117B1D-E6DC-4246-B115-4DD4ED0449D5}" dt="2025-05-22T13:47:14.805" v="33" actId="962"/>
          <ac:picMkLst>
            <pc:docMk/>
            <pc:sldMk cId="1557239451" sldId="832"/>
            <ac:picMk id="7" creationId="{B44DFD4B-7A03-B942-C39C-B04433F1BC9F}"/>
          </ac:picMkLst>
        </pc:picChg>
      </pc:sldChg>
      <pc:sldChg chg="modSp mod modNotesTx">
        <pc:chgData name="Herrig, Meghan" userId="3f3061a6-9cf0-43c6-ba3b-0df8c923fc45" providerId="ADAL" clId="{62117B1D-E6DC-4246-B115-4DD4ED0449D5}" dt="2025-05-22T15:07:05.831" v="149" actId="962"/>
        <pc:sldMkLst>
          <pc:docMk/>
          <pc:sldMk cId="3302861553" sldId="836"/>
        </pc:sldMkLst>
        <pc:spChg chg="mod">
          <ac:chgData name="Herrig, Meghan" userId="3f3061a6-9cf0-43c6-ba3b-0df8c923fc45" providerId="ADAL" clId="{62117B1D-E6DC-4246-B115-4DD4ED0449D5}" dt="2025-05-22T15:06:58.460" v="147" actId="962"/>
          <ac:spMkLst>
            <pc:docMk/>
            <pc:sldMk cId="3302861553" sldId="836"/>
            <ac:spMk id="3" creationId="{5CF13D0F-03DE-8091-49AB-81C808C834FC}"/>
          </ac:spMkLst>
        </pc:spChg>
        <pc:spChg chg="mod">
          <ac:chgData name="Herrig, Meghan" userId="3f3061a6-9cf0-43c6-ba3b-0df8c923fc45" providerId="ADAL" clId="{62117B1D-E6DC-4246-B115-4DD4ED0449D5}" dt="2025-05-22T13:52:37.363" v="104" actId="33553"/>
          <ac:spMkLst>
            <pc:docMk/>
            <pc:sldMk cId="3302861553" sldId="836"/>
            <ac:spMk id="5" creationId="{E7FB260E-1BE2-01E0-442F-8E686034E8DF}"/>
          </ac:spMkLst>
        </pc:spChg>
        <pc:spChg chg="mod">
          <ac:chgData name="Herrig, Meghan" userId="3f3061a6-9cf0-43c6-ba3b-0df8c923fc45" providerId="ADAL" clId="{62117B1D-E6DC-4246-B115-4DD4ED0449D5}" dt="2025-05-22T15:07:05.020" v="148" actId="962"/>
          <ac:spMkLst>
            <pc:docMk/>
            <pc:sldMk cId="3302861553" sldId="836"/>
            <ac:spMk id="10" creationId="{21228838-41E7-8743-64B3-0C2E5366B006}"/>
          </ac:spMkLst>
        </pc:spChg>
        <pc:spChg chg="mod">
          <ac:chgData name="Herrig, Meghan" userId="3f3061a6-9cf0-43c6-ba3b-0df8c923fc45" providerId="ADAL" clId="{62117B1D-E6DC-4246-B115-4DD4ED0449D5}" dt="2025-05-22T15:07:05.831" v="149" actId="962"/>
          <ac:spMkLst>
            <pc:docMk/>
            <pc:sldMk cId="3302861553" sldId="836"/>
            <ac:spMk id="12" creationId="{9EB1546F-E383-9624-DA0D-7BD40F193796}"/>
          </ac:spMkLst>
        </pc:spChg>
        <pc:picChg chg="mod">
          <ac:chgData name="Herrig, Meghan" userId="3f3061a6-9cf0-43c6-ba3b-0df8c923fc45" providerId="ADAL" clId="{62117B1D-E6DC-4246-B115-4DD4ED0449D5}" dt="2025-05-22T13:51:28.859" v="86" actId="962"/>
          <ac:picMkLst>
            <pc:docMk/>
            <pc:sldMk cId="3302861553" sldId="836"/>
            <ac:picMk id="7" creationId="{9A80E7AA-3628-3A3C-B899-2A1793FECEB1}"/>
          </ac:picMkLst>
        </pc:picChg>
      </pc:sldChg>
      <pc:sldChg chg="modSp mod modNotesTx">
        <pc:chgData name="Herrig, Meghan" userId="3f3061a6-9cf0-43c6-ba3b-0df8c923fc45" providerId="ADAL" clId="{62117B1D-E6DC-4246-B115-4DD4ED0449D5}" dt="2025-05-22T15:08:01.922" v="153"/>
        <pc:sldMkLst>
          <pc:docMk/>
          <pc:sldMk cId="572236885" sldId="863"/>
        </pc:sldMkLst>
        <pc:spChg chg="mod">
          <ac:chgData name="Herrig, Meghan" userId="3f3061a6-9cf0-43c6-ba3b-0df8c923fc45" providerId="ADAL" clId="{62117B1D-E6DC-4246-B115-4DD4ED0449D5}" dt="2025-05-22T15:07:17.071" v="150" actId="962"/>
          <ac:spMkLst>
            <pc:docMk/>
            <pc:sldMk cId="572236885" sldId="863"/>
            <ac:spMk id="3" creationId="{57ECD388-BDE4-B32C-C722-895049EACEB0}"/>
          </ac:spMkLst>
        </pc:spChg>
        <pc:spChg chg="mod">
          <ac:chgData name="Herrig, Meghan" userId="3f3061a6-9cf0-43c6-ba3b-0df8c923fc45" providerId="ADAL" clId="{62117B1D-E6DC-4246-B115-4DD4ED0449D5}" dt="2025-05-22T13:52:41.999" v="105" actId="33553"/>
          <ac:spMkLst>
            <pc:docMk/>
            <pc:sldMk cId="572236885" sldId="863"/>
            <ac:spMk id="4" creationId="{84330957-D553-2BC9-BB60-B6DB5CD1EDD2}"/>
          </ac:spMkLst>
        </pc:spChg>
        <pc:spChg chg="ord">
          <ac:chgData name="Herrig, Meghan" userId="3f3061a6-9cf0-43c6-ba3b-0df8c923fc45" providerId="ADAL" clId="{62117B1D-E6DC-4246-B115-4DD4ED0449D5}" dt="2025-05-22T15:08:01.922" v="153"/>
          <ac:spMkLst>
            <pc:docMk/>
            <pc:sldMk cId="572236885" sldId="863"/>
            <ac:spMk id="13" creationId="{6B941393-78B7-54EF-512E-227DB1DE7352}"/>
          </ac:spMkLst>
        </pc:spChg>
        <pc:picChg chg="mod">
          <ac:chgData name="Herrig, Meghan" userId="3f3061a6-9cf0-43c6-ba3b-0df8c923fc45" providerId="ADAL" clId="{62117B1D-E6DC-4246-B115-4DD4ED0449D5}" dt="2025-05-22T13:51:30.749" v="87" actId="962"/>
          <ac:picMkLst>
            <pc:docMk/>
            <pc:sldMk cId="572236885" sldId="863"/>
            <ac:picMk id="5" creationId="{E23E38D1-00F6-3830-D6A6-31656653483B}"/>
          </ac:picMkLst>
        </pc:picChg>
        <pc:picChg chg="mod">
          <ac:chgData name="Herrig, Meghan" userId="3f3061a6-9cf0-43c6-ba3b-0df8c923fc45" providerId="ADAL" clId="{62117B1D-E6DC-4246-B115-4DD4ED0449D5}" dt="2025-05-22T13:51:33.397" v="89" actId="962"/>
          <ac:picMkLst>
            <pc:docMk/>
            <pc:sldMk cId="572236885" sldId="863"/>
            <ac:picMk id="6" creationId="{EA283A2C-66F4-FF97-9062-124486E7BD06}"/>
          </ac:picMkLst>
        </pc:picChg>
        <pc:picChg chg="mod ord">
          <ac:chgData name="Herrig, Meghan" userId="3f3061a6-9cf0-43c6-ba3b-0df8c923fc45" providerId="ADAL" clId="{62117B1D-E6DC-4246-B115-4DD4ED0449D5}" dt="2025-05-22T15:07:45.467" v="152" actId="962"/>
          <ac:picMkLst>
            <pc:docMk/>
            <pc:sldMk cId="572236885" sldId="863"/>
            <ac:picMk id="9" creationId="{84543BC3-0BFA-C64F-A2FD-2E27DA75B59A}"/>
          </ac:picMkLst>
        </pc:picChg>
        <pc:picChg chg="mod">
          <ac:chgData name="Herrig, Meghan" userId="3f3061a6-9cf0-43c6-ba3b-0df8c923fc45" providerId="ADAL" clId="{62117B1D-E6DC-4246-B115-4DD4ED0449D5}" dt="2025-05-22T13:51:32.444" v="88" actId="962"/>
          <ac:picMkLst>
            <pc:docMk/>
            <pc:sldMk cId="572236885" sldId="863"/>
            <ac:picMk id="15" creationId="{47C414CE-01BC-DF89-2A35-01DEC0A5CDFA}"/>
          </ac:picMkLst>
        </pc:picChg>
      </pc:sldChg>
      <pc:sldChg chg="modSp mod modNotesTx">
        <pc:chgData name="Herrig, Meghan" userId="3f3061a6-9cf0-43c6-ba3b-0df8c923fc45" providerId="ADAL" clId="{62117B1D-E6DC-4246-B115-4DD4ED0449D5}" dt="2025-05-22T14:59:15.416" v="124" actId="962"/>
        <pc:sldMkLst>
          <pc:docMk/>
          <pc:sldMk cId="3823148781" sldId="866"/>
        </pc:sldMkLst>
        <pc:spChg chg="mod">
          <ac:chgData name="Herrig, Meghan" userId="3f3061a6-9cf0-43c6-ba3b-0df8c923fc45" providerId="ADAL" clId="{62117B1D-E6DC-4246-B115-4DD4ED0449D5}" dt="2025-05-22T14:59:15.416" v="124" actId="962"/>
          <ac:spMkLst>
            <pc:docMk/>
            <pc:sldMk cId="3823148781" sldId="866"/>
            <ac:spMk id="5" creationId="{92D7CDFD-6A1E-3B56-2F7E-1CF15406DC2B}"/>
          </ac:spMkLst>
        </pc:spChg>
        <pc:picChg chg="mod">
          <ac:chgData name="Herrig, Meghan" userId="3f3061a6-9cf0-43c6-ba3b-0df8c923fc45" providerId="ADAL" clId="{62117B1D-E6DC-4246-B115-4DD4ED0449D5}" dt="2025-05-22T13:47:11.970" v="30" actId="962"/>
          <ac:picMkLst>
            <pc:docMk/>
            <pc:sldMk cId="3823148781" sldId="866"/>
            <ac:picMk id="2" creationId="{EFDE8D9A-7100-30DC-B8F3-B4A80AF57146}"/>
          </ac:picMkLst>
        </pc:picChg>
      </pc:sldChg>
      <pc:sldChg chg="delSp modSp mod modNotesTx">
        <pc:chgData name="Herrig, Meghan" userId="3f3061a6-9cf0-43c6-ba3b-0df8c923fc45" providerId="ADAL" clId="{62117B1D-E6DC-4246-B115-4DD4ED0449D5}" dt="2025-05-22T14:57:31.734" v="114" actId="962"/>
        <pc:sldMkLst>
          <pc:docMk/>
          <pc:sldMk cId="2659924595" sldId="867"/>
        </pc:sldMkLst>
        <pc:spChg chg="mod">
          <ac:chgData name="Herrig, Meghan" userId="3f3061a6-9cf0-43c6-ba3b-0df8c923fc45" providerId="ADAL" clId="{62117B1D-E6DC-4246-B115-4DD4ED0449D5}" dt="2025-05-22T14:57:31.734" v="114" actId="962"/>
          <ac:spMkLst>
            <pc:docMk/>
            <pc:sldMk cId="2659924595" sldId="867"/>
            <ac:spMk id="5" creationId="{EF68DC74-3731-B670-7F27-B5FB241102B7}"/>
          </ac:spMkLst>
        </pc:spChg>
        <pc:spChg chg="del">
          <ac:chgData name="Herrig, Meghan" userId="3f3061a6-9cf0-43c6-ba3b-0df8c923fc45" providerId="ADAL" clId="{62117B1D-E6DC-4246-B115-4DD4ED0449D5}" dt="2025-05-22T13:37:43.023" v="4" actId="478"/>
          <ac:spMkLst>
            <pc:docMk/>
            <pc:sldMk cId="2659924595" sldId="867"/>
            <ac:spMk id="13" creationId="{048CC8DE-7CA1-29FE-8D92-3AFC8082E26F}"/>
          </ac:spMkLst>
        </pc:spChg>
        <pc:picChg chg="mod">
          <ac:chgData name="Herrig, Meghan" userId="3f3061a6-9cf0-43c6-ba3b-0df8c923fc45" providerId="ADAL" clId="{62117B1D-E6DC-4246-B115-4DD4ED0449D5}" dt="2025-05-22T13:37:39.809" v="3" actId="962"/>
          <ac:picMkLst>
            <pc:docMk/>
            <pc:sldMk cId="2659924595" sldId="867"/>
            <ac:picMk id="2" creationId="{06AE97EF-0C45-24CA-FE18-8ECC8ED539EF}"/>
          </ac:picMkLst>
        </pc:picChg>
      </pc:sldChg>
      <pc:sldChg chg="delSp modSp mod modNotesTx">
        <pc:chgData name="Herrig, Meghan" userId="3f3061a6-9cf0-43c6-ba3b-0df8c923fc45" providerId="ADAL" clId="{62117B1D-E6DC-4246-B115-4DD4ED0449D5}" dt="2025-05-22T15:02:10.402" v="141" actId="962"/>
        <pc:sldMkLst>
          <pc:docMk/>
          <pc:sldMk cId="2634225923" sldId="873"/>
        </pc:sldMkLst>
        <pc:spChg chg="mod">
          <ac:chgData name="Herrig, Meghan" userId="3f3061a6-9cf0-43c6-ba3b-0df8c923fc45" providerId="ADAL" clId="{62117B1D-E6DC-4246-B115-4DD4ED0449D5}" dt="2025-05-22T15:02:10.402" v="141" actId="962"/>
          <ac:spMkLst>
            <pc:docMk/>
            <pc:sldMk cId="2634225923" sldId="873"/>
            <ac:spMk id="3" creationId="{910945B2-0330-2F5D-351E-42B67E5EC39A}"/>
          </ac:spMkLst>
        </pc:spChg>
        <pc:spChg chg="mod">
          <ac:chgData name="Herrig, Meghan" userId="3f3061a6-9cf0-43c6-ba3b-0df8c923fc45" providerId="ADAL" clId="{62117B1D-E6DC-4246-B115-4DD4ED0449D5}" dt="2025-05-22T13:52:17.843" v="100" actId="33553"/>
          <ac:spMkLst>
            <pc:docMk/>
            <pc:sldMk cId="2634225923" sldId="873"/>
            <ac:spMk id="4" creationId="{DCF6A27F-3C12-AA7E-D95D-47066D8E9B6F}"/>
          </ac:spMkLst>
        </pc:spChg>
        <pc:spChg chg="mod">
          <ac:chgData name="Herrig, Meghan" userId="3f3061a6-9cf0-43c6-ba3b-0df8c923fc45" providerId="ADAL" clId="{62117B1D-E6DC-4246-B115-4DD4ED0449D5}" dt="2025-05-22T13:50:34.635" v="75" actId="962"/>
          <ac:spMkLst>
            <pc:docMk/>
            <pc:sldMk cId="2634225923" sldId="873"/>
            <ac:spMk id="12" creationId="{00A08F7B-6D27-CE80-1A66-40521B52A4C7}"/>
          </ac:spMkLst>
        </pc:spChg>
        <pc:picChg chg="mod">
          <ac:chgData name="Herrig, Meghan" userId="3f3061a6-9cf0-43c6-ba3b-0df8c923fc45" providerId="ADAL" clId="{62117B1D-E6DC-4246-B115-4DD4ED0449D5}" dt="2025-05-22T13:49:17.600" v="57" actId="962"/>
          <ac:picMkLst>
            <pc:docMk/>
            <pc:sldMk cId="2634225923" sldId="873"/>
            <ac:picMk id="5" creationId="{EF849A1D-5F42-6354-E7B3-C81E2F087CDA}"/>
          </ac:picMkLst>
        </pc:picChg>
        <pc:picChg chg="del mod">
          <ac:chgData name="Herrig, Meghan" userId="3f3061a6-9cf0-43c6-ba3b-0df8c923fc45" providerId="ADAL" clId="{62117B1D-E6DC-4246-B115-4DD4ED0449D5}" dt="2025-05-22T13:49:26.695" v="60" actId="478"/>
          <ac:picMkLst>
            <pc:docMk/>
            <pc:sldMk cId="2634225923" sldId="873"/>
            <ac:picMk id="6" creationId="{0E2080CD-5B2F-C2A0-6C98-ADC9BB3BFA78}"/>
          </ac:picMkLst>
        </pc:picChg>
        <pc:picChg chg="del">
          <ac:chgData name="Herrig, Meghan" userId="3f3061a6-9cf0-43c6-ba3b-0df8c923fc45" providerId="ADAL" clId="{62117B1D-E6DC-4246-B115-4DD4ED0449D5}" dt="2025-05-22T13:49:19.916" v="58" actId="478"/>
          <ac:picMkLst>
            <pc:docMk/>
            <pc:sldMk cId="2634225923" sldId="873"/>
            <ac:picMk id="10" creationId="{1AE426D0-DE80-1839-E507-0C479DD50C22}"/>
          </ac:picMkLst>
        </pc:picChg>
      </pc:sldChg>
      <pc:sldChg chg="modSp mod modNotesTx">
        <pc:chgData name="Herrig, Meghan" userId="3f3061a6-9cf0-43c6-ba3b-0df8c923fc45" providerId="ADAL" clId="{62117B1D-E6DC-4246-B115-4DD4ED0449D5}" dt="2025-05-22T15:00:41.058" v="136" actId="962"/>
        <pc:sldMkLst>
          <pc:docMk/>
          <pc:sldMk cId="2463117656" sldId="877"/>
        </pc:sldMkLst>
        <pc:spChg chg="mod">
          <ac:chgData name="Herrig, Meghan" userId="3f3061a6-9cf0-43c6-ba3b-0df8c923fc45" providerId="ADAL" clId="{62117B1D-E6DC-4246-B115-4DD4ED0449D5}" dt="2025-05-22T15:00:41.058" v="136" actId="962"/>
          <ac:spMkLst>
            <pc:docMk/>
            <pc:sldMk cId="2463117656" sldId="877"/>
            <ac:spMk id="3" creationId="{4558EF79-23F3-211F-83EA-A951FFAE0BEB}"/>
          </ac:spMkLst>
        </pc:spChg>
        <pc:picChg chg="mod">
          <ac:chgData name="Herrig, Meghan" userId="3f3061a6-9cf0-43c6-ba3b-0df8c923fc45" providerId="ADAL" clId="{62117B1D-E6DC-4246-B115-4DD4ED0449D5}" dt="2025-05-22T13:47:16.921" v="34" actId="962"/>
          <ac:picMkLst>
            <pc:docMk/>
            <pc:sldMk cId="2463117656" sldId="877"/>
            <ac:picMk id="7" creationId="{9DCAB839-3EB0-FA8E-0548-D5834DC754E4}"/>
          </ac:picMkLst>
        </pc:picChg>
      </pc:sldChg>
      <pc:sldChg chg="delSp modSp mod modNotesTx">
        <pc:chgData name="Herrig, Meghan" userId="3f3061a6-9cf0-43c6-ba3b-0df8c923fc45" providerId="ADAL" clId="{62117B1D-E6DC-4246-B115-4DD4ED0449D5}" dt="2025-05-22T15:02:51.545" v="145" actId="962"/>
        <pc:sldMkLst>
          <pc:docMk/>
          <pc:sldMk cId="1345630900" sldId="886"/>
        </pc:sldMkLst>
        <pc:spChg chg="del">
          <ac:chgData name="Herrig, Meghan" userId="3f3061a6-9cf0-43c6-ba3b-0df8c923fc45" providerId="ADAL" clId="{62117B1D-E6DC-4246-B115-4DD4ED0449D5}" dt="2025-05-22T13:52:26.129" v="102" actId="478"/>
          <ac:spMkLst>
            <pc:docMk/>
            <pc:sldMk cId="1345630900" sldId="886"/>
            <ac:spMk id="2" creationId="{0577B86F-9D3A-01FB-60CC-3BB736CF3E3F}"/>
          </ac:spMkLst>
        </pc:spChg>
        <pc:spChg chg="mod">
          <ac:chgData name="Herrig, Meghan" userId="3f3061a6-9cf0-43c6-ba3b-0df8c923fc45" providerId="ADAL" clId="{62117B1D-E6DC-4246-B115-4DD4ED0449D5}" dt="2025-05-22T15:02:51.545" v="145" actId="962"/>
          <ac:spMkLst>
            <pc:docMk/>
            <pc:sldMk cId="1345630900" sldId="886"/>
            <ac:spMk id="3" creationId="{ED27B7B0-B3DF-D45E-1F32-D2F5AF70480F}"/>
          </ac:spMkLst>
        </pc:spChg>
        <pc:spChg chg="mod">
          <ac:chgData name="Herrig, Meghan" userId="3f3061a6-9cf0-43c6-ba3b-0df8c923fc45" providerId="ADAL" clId="{62117B1D-E6DC-4246-B115-4DD4ED0449D5}" dt="2025-05-22T13:52:28.529" v="103" actId="33553"/>
          <ac:spMkLst>
            <pc:docMk/>
            <pc:sldMk cId="1345630900" sldId="886"/>
            <ac:spMk id="4" creationId="{8114993E-0F8E-6E13-DF20-B6B837A5CEFD}"/>
          </ac:spMkLst>
        </pc:spChg>
        <pc:picChg chg="mod">
          <ac:chgData name="Herrig, Meghan" userId="3f3061a6-9cf0-43c6-ba3b-0df8c923fc45" providerId="ADAL" clId="{62117B1D-E6DC-4246-B115-4DD4ED0449D5}" dt="2025-05-22T13:51:19.909" v="83" actId="962"/>
          <ac:picMkLst>
            <pc:docMk/>
            <pc:sldMk cId="1345630900" sldId="886"/>
            <ac:picMk id="5" creationId="{0860B82F-3DF6-35B8-CE8D-9A124B3367BF}"/>
          </ac:picMkLst>
        </pc:picChg>
        <pc:picChg chg="del">
          <ac:chgData name="Herrig, Meghan" userId="3f3061a6-9cf0-43c6-ba3b-0df8c923fc45" providerId="ADAL" clId="{62117B1D-E6DC-4246-B115-4DD4ED0449D5}" dt="2025-05-22T13:51:23.755" v="84" actId="478"/>
          <ac:picMkLst>
            <pc:docMk/>
            <pc:sldMk cId="1345630900" sldId="886"/>
            <ac:picMk id="10" creationId="{715C54DA-9B77-CA0A-05D2-08B50F4316A5}"/>
          </ac:picMkLst>
        </pc:picChg>
      </pc:sldChg>
      <pc:sldChg chg="modSp mod modNotesTx">
        <pc:chgData name="Herrig, Meghan" userId="3f3061a6-9cf0-43c6-ba3b-0df8c923fc45" providerId="ADAL" clId="{62117B1D-E6DC-4246-B115-4DD4ED0449D5}" dt="2025-05-22T15:08:36.777" v="158" actId="962"/>
        <pc:sldMkLst>
          <pc:docMk/>
          <pc:sldMk cId="2352204780" sldId="907"/>
        </pc:sldMkLst>
        <pc:spChg chg="mod">
          <ac:chgData name="Herrig, Meghan" userId="3f3061a6-9cf0-43c6-ba3b-0df8c923fc45" providerId="ADAL" clId="{62117B1D-E6DC-4246-B115-4DD4ED0449D5}" dt="2025-05-22T13:52:48.126" v="107" actId="33553"/>
          <ac:spMkLst>
            <pc:docMk/>
            <pc:sldMk cId="2352204780" sldId="907"/>
            <ac:spMk id="5" creationId="{DA6EE572-9EC7-1B66-88F3-F2C925BC5597}"/>
          </ac:spMkLst>
        </pc:spChg>
        <pc:spChg chg="mod">
          <ac:chgData name="Herrig, Meghan" userId="3f3061a6-9cf0-43c6-ba3b-0df8c923fc45" providerId="ADAL" clId="{62117B1D-E6DC-4246-B115-4DD4ED0449D5}" dt="2025-05-22T15:08:32.196" v="155" actId="962"/>
          <ac:spMkLst>
            <pc:docMk/>
            <pc:sldMk cId="2352204780" sldId="907"/>
            <ac:spMk id="10" creationId="{19C3C409-5836-B155-D0DA-9EF618E5A3FD}"/>
          </ac:spMkLst>
        </pc:spChg>
        <pc:spChg chg="mod">
          <ac:chgData name="Herrig, Meghan" userId="3f3061a6-9cf0-43c6-ba3b-0df8c923fc45" providerId="ADAL" clId="{62117B1D-E6DC-4246-B115-4DD4ED0449D5}" dt="2025-05-22T15:08:34.568" v="156" actId="962"/>
          <ac:spMkLst>
            <pc:docMk/>
            <pc:sldMk cId="2352204780" sldId="907"/>
            <ac:spMk id="12" creationId="{48E89D20-0534-3B8B-5C63-8AD4D1A2904E}"/>
          </ac:spMkLst>
        </pc:spChg>
        <pc:picChg chg="mod">
          <ac:chgData name="Herrig, Meghan" userId="3f3061a6-9cf0-43c6-ba3b-0df8c923fc45" providerId="ADAL" clId="{62117B1D-E6DC-4246-B115-4DD4ED0449D5}" dt="2025-05-22T15:08:36.148" v="157" actId="962"/>
          <ac:picMkLst>
            <pc:docMk/>
            <pc:sldMk cId="2352204780" sldId="907"/>
            <ac:picMk id="11" creationId="{6526AF70-00EB-6272-9C69-35FECD9C6363}"/>
          </ac:picMkLst>
        </pc:picChg>
        <pc:picChg chg="mod">
          <ac:chgData name="Herrig, Meghan" userId="3f3061a6-9cf0-43c6-ba3b-0df8c923fc45" providerId="ADAL" clId="{62117B1D-E6DC-4246-B115-4DD4ED0449D5}" dt="2025-05-22T15:08:36.777" v="158" actId="962"/>
          <ac:picMkLst>
            <pc:docMk/>
            <pc:sldMk cId="2352204780" sldId="907"/>
            <ac:picMk id="14" creationId="{A296A8E8-78EB-8F12-DA69-3DB75E69C93E}"/>
          </ac:picMkLst>
        </pc:picChg>
      </pc:sldChg>
      <pc:sldChg chg="delSp modSp mod modNotesTx">
        <pc:chgData name="Herrig, Meghan" userId="3f3061a6-9cf0-43c6-ba3b-0df8c923fc45" providerId="ADAL" clId="{62117B1D-E6DC-4246-B115-4DD4ED0449D5}" dt="2025-05-22T14:57:47.963" v="115" actId="962"/>
        <pc:sldMkLst>
          <pc:docMk/>
          <pc:sldMk cId="673178696" sldId="921"/>
        </pc:sldMkLst>
        <pc:spChg chg="mod">
          <ac:chgData name="Herrig, Meghan" userId="3f3061a6-9cf0-43c6-ba3b-0df8c923fc45" providerId="ADAL" clId="{62117B1D-E6DC-4246-B115-4DD4ED0449D5}" dt="2025-05-22T14:57:47.963" v="115" actId="962"/>
          <ac:spMkLst>
            <pc:docMk/>
            <pc:sldMk cId="673178696" sldId="921"/>
            <ac:spMk id="5" creationId="{BC464A10-43F9-3430-2972-CA8AE9278327}"/>
          </ac:spMkLst>
        </pc:spChg>
        <pc:spChg chg="del">
          <ac:chgData name="Herrig, Meghan" userId="3f3061a6-9cf0-43c6-ba3b-0df8c923fc45" providerId="ADAL" clId="{62117B1D-E6DC-4246-B115-4DD4ED0449D5}" dt="2025-05-22T13:37:56.963" v="6" actId="478"/>
          <ac:spMkLst>
            <pc:docMk/>
            <pc:sldMk cId="673178696" sldId="921"/>
            <ac:spMk id="13" creationId="{03EE155A-52A6-B482-12DF-FACF5D65E55E}"/>
          </ac:spMkLst>
        </pc:spChg>
        <pc:picChg chg="mod">
          <ac:chgData name="Herrig, Meghan" userId="3f3061a6-9cf0-43c6-ba3b-0df8c923fc45" providerId="ADAL" clId="{62117B1D-E6DC-4246-B115-4DD4ED0449D5}" dt="2025-05-22T13:37:53.281" v="5" actId="962"/>
          <ac:picMkLst>
            <pc:docMk/>
            <pc:sldMk cId="673178696" sldId="921"/>
            <ac:picMk id="2" creationId="{CF51B435-6E5D-6EBD-DD9B-4F902C12228F}"/>
          </ac:picMkLst>
        </pc:picChg>
      </pc:sldChg>
      <pc:sldChg chg="delSp modSp mod modNotesTx">
        <pc:chgData name="Herrig, Meghan" userId="3f3061a6-9cf0-43c6-ba3b-0df8c923fc45" providerId="ADAL" clId="{62117B1D-E6DC-4246-B115-4DD4ED0449D5}" dt="2025-05-22T14:58:26.796" v="122" actId="478"/>
        <pc:sldMkLst>
          <pc:docMk/>
          <pc:sldMk cId="1359325907" sldId="922"/>
        </pc:sldMkLst>
        <pc:spChg chg="mod">
          <ac:chgData name="Herrig, Meghan" userId="3f3061a6-9cf0-43c6-ba3b-0df8c923fc45" providerId="ADAL" clId="{62117B1D-E6DC-4246-B115-4DD4ED0449D5}" dt="2025-05-22T14:58:02.641" v="116" actId="962"/>
          <ac:spMkLst>
            <pc:docMk/>
            <pc:sldMk cId="1359325907" sldId="922"/>
            <ac:spMk id="5" creationId="{A00517CD-2ED7-68EF-1595-2AECB3384B7B}"/>
          </ac:spMkLst>
        </pc:spChg>
        <pc:spChg chg="del mod">
          <ac:chgData name="Herrig, Meghan" userId="3f3061a6-9cf0-43c6-ba3b-0df8c923fc45" providerId="ADAL" clId="{62117B1D-E6DC-4246-B115-4DD4ED0449D5}" dt="2025-05-22T14:58:26.796" v="122" actId="478"/>
          <ac:spMkLst>
            <pc:docMk/>
            <pc:sldMk cId="1359325907" sldId="922"/>
            <ac:spMk id="16" creationId="{5AECD756-0CB6-F357-382F-32734496DC85}"/>
          </ac:spMkLst>
        </pc:spChg>
        <pc:spChg chg="mod ord">
          <ac:chgData name="Herrig, Meghan" userId="3f3061a6-9cf0-43c6-ba3b-0df8c923fc45" providerId="ADAL" clId="{62117B1D-E6DC-4246-B115-4DD4ED0449D5}" dt="2025-05-22T14:58:11.710" v="121"/>
          <ac:spMkLst>
            <pc:docMk/>
            <pc:sldMk cId="1359325907" sldId="922"/>
            <ac:spMk id="22" creationId="{FA73ADC0-44B8-C9A8-1083-D46A818AAF79}"/>
          </ac:spMkLst>
        </pc:spChg>
        <pc:picChg chg="mod">
          <ac:chgData name="Herrig, Meghan" userId="3f3061a6-9cf0-43c6-ba3b-0df8c923fc45" providerId="ADAL" clId="{62117B1D-E6DC-4246-B115-4DD4ED0449D5}" dt="2025-05-22T13:38:01.679" v="7" actId="962"/>
          <ac:picMkLst>
            <pc:docMk/>
            <pc:sldMk cId="1359325907" sldId="922"/>
            <ac:picMk id="2" creationId="{A8EBE8FB-1025-7E4C-41DA-28BE7BBAF993}"/>
          </ac:picMkLst>
        </pc:picChg>
        <pc:picChg chg="mod">
          <ac:chgData name="Herrig, Meghan" userId="3f3061a6-9cf0-43c6-ba3b-0df8c923fc45" providerId="ADAL" clId="{62117B1D-E6DC-4246-B115-4DD4ED0449D5}" dt="2025-05-22T13:38:09.806" v="9" actId="1076"/>
          <ac:picMkLst>
            <pc:docMk/>
            <pc:sldMk cId="1359325907" sldId="922"/>
            <ac:picMk id="20" creationId="{31BD18CA-E462-26DA-7134-B0B2AD11974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4151D1-45D5-5A35-96D1-56B4A38AF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6732C9-D94D-44DC-BC98-6CA3340AEB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6DC4CE-42A6-CA52-0B6B-85E03F224A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7B608-E21E-B4A8-1C5C-7611F7AB4F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000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4E468F-43DF-2D49-D1EB-723751A6E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6448FC-7289-EC2B-4428-7986329D6D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F0913A-2931-5147-7997-0050C8DE99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3B675-7202-8F23-8FB9-5AD84F9CDB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40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49961B-31B7-CA90-926C-5ECDE7F16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5DB49C-6396-85C0-251C-7B849B4D07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573326-405A-C78B-BDB7-5FBB738321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2A4A9C-6F17-D574-D265-5D2147CF63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774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1FBB53-D2B7-E0B5-D7A8-05E0CB630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904F77-02AE-669B-6080-B86093E4BD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C02F2C-AD4D-7257-779F-C0D801BB20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839A9C-5457-CC4F-DE30-BA18156508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770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085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FF1BC-FF4E-71C9-CFBF-7D651E358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1D75D9-F516-D004-25EC-7D80CEF58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5D3F53-B6C5-65CB-637A-98284999B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02CD-E621-8B38-7990-B11D0652E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8479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013AA-1138-5F50-B101-C4D9E429E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766156-B026-DFBD-0A2A-9DFE4D469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56B0CC-DB99-009A-C49A-E7B5F264A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7BD82-F14E-BDB4-0B66-FFF98EFCC6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48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336E-5A56-CB71-CF59-91C81F94C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C7B8BF-AEBC-CE5C-99A8-63977D3D8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62735-72E5-83C1-ABFF-ED6FE7EBB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E12AF-C398-2151-97BC-78873F53A2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100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92D7C-7077-49A2-6043-185CD13F8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7336EB-F27A-0281-8053-D53E10C33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09209-BCF7-5CBE-6370-0E29E3B7C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5C2E4-3337-BE78-698B-5CDBD7966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144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0C071D-1E94-E403-D848-9F2F4830B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FA0B0E-C5DB-D5A9-6F4E-0966FA3293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526B9B-F990-2BF1-1FD4-100E30DD7D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ACC7ED-F7D1-F236-84C3-F7D796DF0D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949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1D7BD3-D9EF-2602-D34A-A8E1A8E2F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0D2CBE-2A67-770C-052D-1BFE5E10C9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E006EA-8E09-3794-D6DB-FC0C14E4AE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B19AB3-8171-E072-F835-6CA844411E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8066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6674D-0A53-AB07-744A-1C24EF8A6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AA5F80-4387-9599-B128-B0F03661DB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96F3D9-DEB4-9C13-CC81-2E40F3BC8D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737BF-5157-624B-5B14-A5212FC02B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4848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B3DE7-1DC7-1E31-5ADB-F80FFEB5DF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5DAA08-EC31-02F6-8229-9B38AC17CA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377F32-AAC4-D4B9-1591-66A6BA3EB7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09631A-9AFB-78F2-508C-8E40C52BFE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06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15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3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98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5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28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27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Relationship Id="rId9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4.png"/><Relationship Id="rId4" Type="http://schemas.openxmlformats.org/officeDocument/2006/relationships/hyperlink" Target="https://www.mheducation.com/highered/support/support-at-every-step/student/connect/temporary-access-ending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connect/first-day-of-class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55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28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1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1.png"/><Relationship Id="rId5" Type="http://schemas.openxmlformats.org/officeDocument/2006/relationships/image" Target="../media/image59.png"/><Relationship Id="rId4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36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0.xml"/><Relationship Id="rId6" Type="http://schemas.openxmlformats.org/officeDocument/2006/relationships/image" Target="../media/image39.png"/><Relationship Id="rId5" Type="http://schemas.openxmlformats.org/officeDocument/2006/relationships/image" Target="../media/image27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"/>
                <a:cs typeface="Arial"/>
              </a:rPr>
              <a:t>Slides Available for the First Day of Class: Sharpen Companion, non-IA, Blackboard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Connect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sz="1400" strike="sngStrike" dirty="0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and Sharpen Companion FDOC Slides 2 – 9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Purchase Flows</a:t>
            </a:r>
            <a:endParaRPr lang="en-US" sz="1400" dirty="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: Connect with an LMS: Blackboard Slides 10 – 18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 and IA: Connect with an LMS Slides 19 – 22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3FBBB1-F691-2DBB-0E41-0C1A4A1402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7921D-3035-DC63-AD61-AFA509E96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56E0BA-3400-31A1-885E-50BE516D93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Registration: Connect Integrated with a Learning Management System (LMS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B44DFD4B-7A03-B942-C39C-B04433F1B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B34A92C-1959-BED0-600B-4E790B250D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403C93B-0C5C-6EBA-38B9-CDC91690D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0798DD6-469C-DC2A-93A7-786B9D829E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51"/>
          <a:stretch/>
        </p:blipFill>
        <p:spPr>
          <a:xfrm>
            <a:off x="3884263" y="2307272"/>
            <a:ext cx="4832074" cy="4550728"/>
          </a:xfrm>
          <a:prstGeom prst="rect">
            <a:avLst/>
          </a:prstGeom>
        </p:spPr>
      </p:pic>
      <p:pic>
        <p:nvPicPr>
          <p:cNvPr id="16" name="Picture 15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E945652F-4939-F4BB-055D-B0DBF178C6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394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E1A32-F924-8D6F-2A9C-1E5C112AE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6B3CDC-DEB8-2AF7-D791-04057E9C26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Connect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Blackboa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58EF79-23F3-211F-83EA-A951FFAE0B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79E1C9-56F9-ACAF-66E3-C615FB1D8F2D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E882A8-9514-1B17-EAAF-EE2E88A3BF18}"/>
              </a:ext>
            </a:extLst>
          </p:cNvPr>
          <p:cNvSpPr txBox="1"/>
          <p:nvPr/>
        </p:nvSpPr>
        <p:spPr>
          <a:xfrm>
            <a:off x="4500561" y="2094263"/>
            <a:ext cx="5275756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Connect from your Blackboard course, select a McGraw Hill Connect assignment. On the next screen, click to launch it.</a:t>
            </a:r>
            <a:endParaRPr lang="en-US"/>
          </a:p>
        </p:txBody>
      </p:sp>
      <p:pic>
        <p:nvPicPr>
          <p:cNvPr id="6" name="Picture 7" descr="Blackboard screenshot showing the Connect assignment.">
            <a:extLst>
              <a:ext uri="{FF2B5EF4-FFF2-40B4-BE49-F238E27FC236}">
                <a16:creationId xmlns:a16="http://schemas.microsoft.com/office/drawing/2014/main" id="{FFEA8C71-50A9-08B9-648D-B82A910DDB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6378" y="3223796"/>
            <a:ext cx="6405995" cy="199749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CAB839-3EB0-FA8E-0548-D5834DC754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5896" y="4138137"/>
            <a:ext cx="1722086" cy="364671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9" name="Picture 8" descr="Connect assignment screenshot with the launch button.">
            <a:extLst>
              <a:ext uri="{FF2B5EF4-FFF2-40B4-BE49-F238E27FC236}">
                <a16:creationId xmlns:a16="http://schemas.microsoft.com/office/drawing/2014/main" id="{40D199CB-93B3-1C6B-86D7-7B2F406D235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3713" t="32740" b="465"/>
          <a:stretch/>
        </p:blipFill>
        <p:spPr>
          <a:xfrm>
            <a:off x="7960452" y="4841819"/>
            <a:ext cx="3931297" cy="17145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4631176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5FE5C0-3740-48B6-257B-EB91AF94E7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3DE1E0-F081-98B5-7C7F-C81D1BC590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EA62FD0-67B8-7050-235A-393454281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1A9899A-89AC-6F0C-D7AD-CCFD3401419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5B7E9B0-2B78-B524-F60A-C1F963508C1A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5000283" cy="43834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You have three registration options (right to left):</a:t>
            </a:r>
            <a:endParaRPr lang="en-US" sz="1800"/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a Connect and Sharpen access code and 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Redee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 </a:t>
            </a: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Temporary Access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Access Now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for two-week temporary access. Note this unlocks Connect only and not Sharpen. </a:t>
            </a:r>
          </a:p>
        </p:txBody>
      </p:sp>
      <p:grpSp>
        <p:nvGrpSpPr>
          <p:cNvPr id="14" name="Group 13" descr="Course access page screenshot showing the 3 registration options: purchase online, enter access code, or activate temporary access.">
            <a:extLst>
              <a:ext uri="{FF2B5EF4-FFF2-40B4-BE49-F238E27FC236}">
                <a16:creationId xmlns:a16="http://schemas.microsoft.com/office/drawing/2014/main" id="{4733343C-1A2B-1EE0-0C54-B0B3B567F1E7}"/>
              </a:ext>
            </a:extLst>
          </p:cNvPr>
          <p:cNvGrpSpPr/>
          <p:nvPr/>
        </p:nvGrpSpPr>
        <p:grpSpPr>
          <a:xfrm>
            <a:off x="138023" y="1111623"/>
            <a:ext cx="5730908" cy="4381500"/>
            <a:chOff x="266591" y="1243853"/>
            <a:chExt cx="5730908" cy="4381500"/>
          </a:xfrm>
        </p:grpSpPr>
        <p:pic>
          <p:nvPicPr>
            <p:cNvPr id="8" name="Picture 7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F836DEDE-A82D-6FB3-1B13-A07FB39BE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6591" y="1243853"/>
              <a:ext cx="5730908" cy="4381500"/>
            </a:xfrm>
            <a:prstGeom prst="rect">
              <a:avLst/>
            </a:prstGeom>
          </p:spPr>
        </p:pic>
        <p:pic>
          <p:nvPicPr>
            <p:cNvPr id="12" name="Picture 11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B13C0025-96B0-5F0B-10C7-516919AE2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617" t="60199" r="67998" b="3881"/>
            <a:stretch/>
          </p:blipFill>
          <p:spPr>
            <a:xfrm>
              <a:off x="318433" y="3710365"/>
              <a:ext cx="1762651" cy="16923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34318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492B74-D9D2-8691-D9A8-85FA4B832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723199-BC19-B1AB-FAA7-04EA388720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72D71B6-4955-6CA6-A359-5C445E79F6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E745926-269B-F52C-7AD9-15C2EBDAD11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C80C877-A065-BC51-F984-7B68EC3A329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852666" cy="196963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to use a credit card or PayPal. Enter your payment information and click "Place Order". A purchase confirmation page will load.</a:t>
            </a:r>
          </a:p>
          <a:p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ongratulations! You have successfully completed your Connect and Sharpen Companion purchase.</a:t>
            </a:r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  <a:buAutoNum type="alphaU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5" name="Picture 14" descr="Secure checkout page screenshot. ">
            <a:extLst>
              <a:ext uri="{FF2B5EF4-FFF2-40B4-BE49-F238E27FC236}">
                <a16:creationId xmlns:a16="http://schemas.microsoft.com/office/drawing/2014/main" id="{B49D66EA-9C68-AE1F-4A04-30BF7606EE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202" y="846667"/>
            <a:ext cx="3788833" cy="2769812"/>
          </a:xfrm>
          <a:prstGeom prst="rect">
            <a:avLst/>
          </a:prstGeom>
        </p:spPr>
      </p:pic>
      <p:pic>
        <p:nvPicPr>
          <p:cNvPr id="17" name="Picture 16" descr="Post-purchase confirmation page screenshot.">
            <a:extLst>
              <a:ext uri="{FF2B5EF4-FFF2-40B4-BE49-F238E27FC236}">
                <a16:creationId xmlns:a16="http://schemas.microsoft.com/office/drawing/2014/main" id="{07529E64-B203-0083-8EBA-37183B8184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06666" y="3776421"/>
            <a:ext cx="4625219" cy="29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628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CB2D3-A62E-6B72-7291-BBF3CD3D0E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5640AA-B501-CD99-08EE-3A4C9ABD83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CE92F4B-3F44-16DB-4DC7-A4C98286CC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5ABE90C-6663-4708-7248-2219132F6E9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4184A6-B55F-FEAE-838B-22FC8848CEB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33847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Access Code Confirmation Screen appears.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Digital access confirmation screen appears. On the next screen,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/>
          </a:p>
          <a:p>
            <a:pPr>
              <a:spcAft>
                <a:spcPts val="900"/>
              </a:spcAft>
              <a:buAutoNum type="arabi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2" name="Picture 11" descr="Access code confirmation page screenshot.">
            <a:extLst>
              <a:ext uri="{FF2B5EF4-FFF2-40B4-BE49-F238E27FC236}">
                <a16:creationId xmlns:a16="http://schemas.microsoft.com/office/drawing/2014/main" id="{3405731D-3A75-21A0-9B62-B47F274855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102" y="1106826"/>
            <a:ext cx="4908534" cy="2291791"/>
          </a:xfrm>
          <a:prstGeom prst="rect">
            <a:avLst/>
          </a:prstGeom>
        </p:spPr>
      </p:pic>
      <p:pic>
        <p:nvPicPr>
          <p:cNvPr id="15" name="Picture 14" descr="Temporary access confirmation page screenshot.">
            <a:extLst>
              <a:ext uri="{FF2B5EF4-FFF2-40B4-BE49-F238E27FC236}">
                <a16:creationId xmlns:a16="http://schemas.microsoft.com/office/drawing/2014/main" id="{9EBDBBCC-E9FD-5D6D-4381-9D17726BAA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7888" y="4207177"/>
            <a:ext cx="5223178" cy="233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587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7CF02-F0D3-8DE7-A2F3-F0A6102902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0945B2-0330-2F5D-351E-42B67E5E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F849A1D-5F42-6354-E7B3-C81E2F087C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CF6A27F-3C12-AA7E-D95D-47066D8E9B6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2E5BC5F-1E09-88F5-A303-7993B3B1DC70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7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7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On the purchase confirmation page, 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Complete Registration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. 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" name="Picture 1" descr="Screenshot of post-purchase confirmation page highlighting the &quot;Complete Registration&quot; button.">
            <a:extLst>
              <a:ext uri="{FF2B5EF4-FFF2-40B4-BE49-F238E27FC236}">
                <a16:creationId xmlns:a16="http://schemas.microsoft.com/office/drawing/2014/main" id="{E34CF3BB-2E6A-CD43-7F7F-992EA4E3A1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383" y="960439"/>
            <a:ext cx="5631874" cy="3459309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0A08F7B-6D27-CE80-1A66-40521B52A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00672" y="3770183"/>
            <a:ext cx="1237282" cy="528267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2259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99C6A1-0903-4970-80B5-A58F39F04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CC8DF5-513C-EFF0-87C3-9A030980F0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1CA52A8-A48D-B772-0A50-036971263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5FB91CC-D65A-73CE-428F-676227C7C5C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92FF04-D53E-037B-450F-005930AADF6F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Complete Registration</a:t>
            </a:r>
            <a:r>
              <a:rPr lang="en-US" sz="1800" b="1" i="1">
                <a:solidFill>
                  <a:srgbClr val="333333"/>
                </a:solidFill>
                <a:latin typeface="Arial"/>
                <a:cs typeface="Arial"/>
              </a:rPr>
              <a:t>. </a:t>
            </a:r>
            <a:endParaRPr lang="en-US" sz="1800">
              <a:latin typeface="Arial"/>
              <a:cs typeface="Arial"/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</a:t>
            </a:r>
            <a:r>
              <a:rPr lang="en-US" sz="1800"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800">
                <a:latin typeface="Arial"/>
                <a:cs typeface="Arial"/>
              </a:rPr>
              <a:t>Click </a:t>
            </a:r>
            <a:r>
              <a:rPr lang="en-US" sz="1800" b="1">
                <a:latin typeface="Arial"/>
                <a:cs typeface="Arial"/>
              </a:rPr>
              <a:t>Complete Registration</a:t>
            </a:r>
            <a:r>
              <a:rPr lang="en-US" sz="1800" b="1" i="1">
                <a:latin typeface="Arial"/>
                <a:cs typeface="Arial"/>
              </a:rPr>
              <a:t>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buNone/>
            </a:pP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Reminder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: if you used Temporary Access, this applies only to Connect and not Sharpen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2DF031-A316-9788-57AB-2E72B86983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5782" y="4301499"/>
            <a:ext cx="4481286" cy="209088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320018B-8E98-EAAA-F1C4-5E38E03F3C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2314" y="4183156"/>
            <a:ext cx="4953241" cy="221024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823C656-0E19-4989-0FEE-10A03F67CE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039" y="1201812"/>
            <a:ext cx="5161643" cy="241864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1F7F503-A5A2-5963-7326-7A0E6C037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2546" y="1199870"/>
            <a:ext cx="5220261" cy="2418791"/>
          </a:xfrm>
          <a:prstGeom prst="rect">
            <a:avLst/>
          </a:prstGeom>
        </p:spPr>
      </p:pic>
      <p:pic>
        <p:nvPicPr>
          <p:cNvPr id="25" name="Picture 24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059FE09C-9DE5-1585-FCDD-17A4742F15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3483" y="1159382"/>
            <a:ext cx="5222892" cy="248856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7FFEAF5-77B2-5E95-7F49-3A829C3F0E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01630" y="1724553"/>
            <a:ext cx="2001950" cy="972767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18DCA569-E74B-E40C-300F-7B04AADE4E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77975" y="4074282"/>
            <a:ext cx="5129289" cy="2446868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05BECCD-AFC0-3C33-D86B-34BA0EE1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02366" y="4607925"/>
            <a:ext cx="1905188" cy="88810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5284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3935D-536C-DBB1-0374-6010491D2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27B7B0-B3DF-D45E-1F32-D2F5AF7048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860B82F-3DF6-35B8-CE8D-9A124B336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114993E-0F8E-6E13-DF20-B6B837A5CEF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82BDFC-AFF3-33C4-2DE1-B3C19FE371E0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 b="1" dirty="0">
                <a:solidFill>
                  <a:srgbClr val="E21A23"/>
                </a:solidFill>
                <a:latin typeface="Arial"/>
                <a:cs typeface="Arial"/>
              </a:rPr>
              <a:t>C. Temporary Access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When your two-week Temporary Access Expires, you will be directed to the Course Access Page to redeem the Connect and Sharpen Companion access code or purchase Connect and Sharpen Companion. </a:t>
            </a:r>
            <a:endParaRPr lang="en-US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ou can view more information and instructions here</a:t>
            </a:r>
            <a:r>
              <a:rPr lang="en-US" sz="1800" dirty="0">
                <a:solidFill>
                  <a:srgbClr val="000000"/>
                </a:solidFill>
              </a:rPr>
              <a:t>.</a:t>
            </a:r>
            <a:endParaRPr lang="en-US" dirty="0"/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12" name="Picture 11" descr="Course Access page screenshot showing the Access Code and Purchase flows a user will see after using their Temporary Access.">
            <a:extLst>
              <a:ext uri="{FF2B5EF4-FFF2-40B4-BE49-F238E27FC236}">
                <a16:creationId xmlns:a16="http://schemas.microsoft.com/office/drawing/2014/main" id="{64124D77-4556-1A1B-AD75-EF70713119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098" y="2034475"/>
            <a:ext cx="4424246" cy="315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6309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Register for Connect in Your School’s L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3400" y="1379558"/>
            <a:ext cx="7081838" cy="5038071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For instructions specific to your school’s LMS, visit: </a:t>
            </a:r>
            <a:br>
              <a:rPr lang="en-US"/>
            </a:br>
            <a:r>
              <a:rPr lang="en-US">
                <a:latin typeface="Arial"/>
                <a:cs typeface="Arial"/>
                <a:hlinkClick r:id="rId3"/>
              </a:rPr>
              <a:t>https://www.mheducation.com/highered/support/connect/first-day-of-class.html</a:t>
            </a:r>
            <a:r>
              <a:rPr lang="en-US">
                <a:latin typeface="Arial"/>
                <a:cs typeface="Arial"/>
              </a:rPr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Then create a new account or sign in with an existing account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You will be prompted to create a new Connect account or sign in with an existing Connect account. Depending on your school's setup, some fields may need to be input to complete the registration. Click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Create Account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or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Sign In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to complete the pairing process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endParaRPr lang="en-US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7637BD4-5C8B-448B-98F7-B5F26B4401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7" descr="QR code to scan and access instructions specific to your school's LMS.">
            <a:extLst>
              <a:ext uri="{FF2B5EF4-FFF2-40B4-BE49-F238E27FC236}">
                <a16:creationId xmlns:a16="http://schemas.microsoft.com/office/drawing/2014/main" id="{3C6EFCC5-CA1F-6A93-25A7-35C1892878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8305" y="2159939"/>
            <a:ext cx="2211010" cy="2163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492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D406-8D56-2C03-32D9-8AD2857F1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13D0F-03DE-8091-49AB-81C808C83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FB260E-1BE2-01E0-442F-8E686034E8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: Connect Integrated with a Learning Management System (LMS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A80E7AA-3628-3A3C-B899-2A1793FEC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1228838-41E7-8743-64B3-0C2E5366B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1546F-E383-9624-DA0D-7BD40F193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B94CDD-0A9D-0594-DEE2-47301F086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4251" b="246"/>
          <a:stretch/>
        </p:blipFill>
        <p:spPr>
          <a:xfrm>
            <a:off x="3884263" y="2957213"/>
            <a:ext cx="4834427" cy="3891041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F9AFD67B-AD9B-571D-45B5-45CAD26F37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615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74513-6A0B-C980-D365-3133946F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ECD388-BDE4-B32C-C722-895049EAC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23E38D1-00F6-3830-D6A6-316566534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4330957-D553-2BC9-BB60-B6DB5CD1ED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B941393-78B7-54EF-512E-227DB1DE7352}"/>
              </a:ext>
            </a:extLst>
          </p:cNvPr>
          <p:cNvSpPr txBox="1">
            <a:spLocks/>
          </p:cNvSpPr>
          <p:nvPr/>
        </p:nvSpPr>
        <p:spPr>
          <a:xfrm>
            <a:off x="6918016" y="1520874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 LMS Cover Sheet includes two Sharpen launch points. 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First, click on the top LMS Cover Sheet to open a new page with the Sharpen access point. 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/>
          </a:p>
          <a:p>
            <a:pPr marL="0" indent="0">
              <a:lnSpc>
                <a:spcPct val="110000"/>
              </a:lnSpc>
              <a:buNone/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9" name="Picture 8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84543BC3-0BFA-C64F-A2FD-2E27DA75B5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3012" y="3542117"/>
            <a:ext cx="3512724" cy="3040441"/>
          </a:xfrm>
          <a:prstGeom prst="rect">
            <a:avLst/>
          </a:prstGeom>
        </p:spPr>
      </p:pic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B2102AB5-EC71-434C-FEB4-30BD35AD57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7C414CE-01BC-DF89-2A35-01DEC0A5C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6" y="1913162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9" name="Picture 18" descr="Sharpen web app that opens after students open Sharpen from Connect.">
            <a:extLst>
              <a:ext uri="{FF2B5EF4-FFF2-40B4-BE49-F238E27FC236}">
                <a16:creationId xmlns:a16="http://schemas.microsoft.com/office/drawing/2014/main" id="{E2528E62-6FA8-04B7-83E7-01D693DAE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283A2C-66F4-FF97-9062-124486E7B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6043" y="4639053"/>
            <a:ext cx="1191591" cy="350074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5722368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3D05-AEF8-801C-8B9F-B0679DE872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12CF5-2A6D-250F-0D68-A02ADF266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651F751-DC0E-2BE1-C873-7E1D158E2D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DDBEFD0-351C-13DB-D55D-F55EAEF877E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EA66A1F-AB04-9744-8BCF-BC5DA997EF21}"/>
              </a:ext>
            </a:extLst>
          </p:cNvPr>
          <p:cNvSpPr txBox="1">
            <a:spLocks/>
          </p:cNvSpPr>
          <p:nvPr/>
        </p:nvSpPr>
        <p:spPr>
          <a:xfrm>
            <a:off x="6918016" y="1520874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b="1" dirty="0">
                <a:latin typeface="Arial"/>
                <a:cs typeface="Arial"/>
              </a:rPr>
              <a:t>LMS Cover Sheet</a:t>
            </a:r>
            <a:r>
              <a:rPr lang="en-US" sz="1800" dirty="0">
                <a:latin typeface="Arial"/>
                <a:cs typeface="Arial"/>
              </a:rPr>
              <a:t>: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n, click on the bottom Sharpen assignment to open a new page with the Sharpen access point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800">
              <a:latin typeface="Arial"/>
              <a:cs typeface="Arial"/>
            </a:endParaRPr>
          </a:p>
        </p:txBody>
      </p:sp>
      <p:pic>
        <p:nvPicPr>
          <p:cNvPr id="6" name="Picture 5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C98E3267-1366-3737-FC75-06C918A0D4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0" name="Picture 9" descr="Screenshot of Begin button to launch Sharpen. Yellow rectangle highlights the Launch point.">
            <a:extLst>
              <a:ext uri="{FF2B5EF4-FFF2-40B4-BE49-F238E27FC236}">
                <a16:creationId xmlns:a16="http://schemas.microsoft.com/office/drawing/2014/main" id="{FD1BC754-F213-B3DE-5D98-37E33D5286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494" y="3708144"/>
            <a:ext cx="4898572" cy="26076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35856B0-0EC7-0B8A-ADEE-DC55B78D0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5" y="2364259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7" name="Picture 6" descr="Sharpen web app that opens after students open Sharpen from Connect.">
            <a:extLst>
              <a:ext uri="{FF2B5EF4-FFF2-40B4-BE49-F238E27FC236}">
                <a16:creationId xmlns:a16="http://schemas.microsoft.com/office/drawing/2014/main" id="{7F45EF98-FA8C-618D-6CBC-CC920CB809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53D034-9077-D990-6712-74D321D33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8072" y="5412259"/>
            <a:ext cx="1465908" cy="417307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6594092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rial"/>
                <a:cs typeface="Arial"/>
              </a:rPr>
              <a:t>Getting Started with McGraw Hill Connect</a:t>
            </a:r>
            <a:r>
              <a:rPr lang="en-US" baseline="30000" dirty="0">
                <a:latin typeface="Arial"/>
                <a:cs typeface="Arial"/>
              </a:rPr>
              <a:t> ®</a:t>
            </a:r>
            <a:r>
              <a:rPr lang="en-US" baseline="300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 dirty="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26AF70-00EB-6272-9C69-35FECD9C63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296A8E8-78EB-8F12-DA69-3DB75E69C9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Picture 6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25FAB81B-B0F0-B287-4225-8C0021948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FA2E2-6E98-FB93-D509-F1AA29412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8EBE8FB-1025-7E4C-41DA-28BE7BBAF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0517CD-2ED7-68EF-1595-2AECB3384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A73ADC0-44B8-C9A8-1083-D46A818AAF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EE10A906-799B-8E13-E8B4-B8ECD06573B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2BD7A65A-CB13-3540-19A1-A6F893A6D8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C72D5321-6A39-DE58-DBE9-530C5E8E848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31BD18CA-E462-26DA-7134-B0B2AD1197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325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81500" y="1306513"/>
            <a:ext cx="7018338" cy="52832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nect Student Sup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arn how to register, navigate Connect, use SmartBook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download the ReadAnywhere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app, and more!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.com/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e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support/student/connect.htm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us, acces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via chat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 phone a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800) 331-5094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urs of Opera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nday: 12 PM to 12 AM 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day–Thursday: 24 hou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iday: 12 AM to 9 PM E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turday: 10 AM to 8 PM E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Props1.xml><?xml version="1.0" encoding="utf-8"?>
<ds:datastoreItem xmlns:ds="http://schemas.openxmlformats.org/officeDocument/2006/customXml" ds:itemID="{D92FE20A-5F03-4A85-A999-B460699883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eee036-b312-4691-be2e-efe9fdaf1737"/>
    <ds:schemaRef ds:uri="4f83251b-4d3b-4580-8981-be5e2b08b7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F98F79-CDE5-4D73-B2C6-1BC6C1BC02F1}">
  <ds:schemaRefs>
    <ds:schemaRef ds:uri="http://schemas.microsoft.com/office/2006/metadata/properties"/>
    <ds:schemaRef ds:uri="4f83251b-4d3b-4580-8981-be5e2b08b791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55eee036-b312-4691-be2e-efe9fdaf1737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28</TotalTime>
  <Words>1434</Words>
  <Application>Microsoft Office PowerPoint</Application>
  <PresentationFormat>Widescreen</PresentationFormat>
  <Paragraphs>179</Paragraphs>
  <Slides>22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3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Slides Available for the First Day of Class: Sharpen Companion, non-IA, Blackboard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 Learn how to register, navigate Connect, use SmartBook®, download the ReadAnywhere® app, and more!  mheducation.com/highered/support/student/connect.html Plus, access technical support via chat  or phone at (800) 331-5094. Hours of Operation: Sunday: 12 PM to 12 AM ET Monday–Thursday: 24 hours Friday: 12 AM to 9 PM ET Saturday: 10 AM to 8 PM ET</vt:lpstr>
      <vt:lpstr>Sharpen Companion Purchase Flow Non-IA Registration: Connect Integrated with a Learning Management System (LMS)</vt:lpstr>
      <vt:lpstr>Accessing McGraw Hill Connect:  Blackboard</vt:lpstr>
      <vt:lpstr>Step 2:</vt:lpstr>
      <vt:lpstr>Step 3A:</vt:lpstr>
      <vt:lpstr>Step 3B-3C:</vt:lpstr>
      <vt:lpstr>Step 4A: </vt:lpstr>
      <vt:lpstr>Step 4B-4C: </vt:lpstr>
      <vt:lpstr>Step 5C: </vt:lpstr>
      <vt:lpstr>Register for Connect in Your School’s LMS</vt:lpstr>
      <vt:lpstr>Sharpen Companion Log-In Flow Non-IA and IA: Connect Integrated with a Learning Management System (LMS) </vt:lpstr>
      <vt:lpstr>Sharpen Companion Log-In Flow</vt:lpstr>
      <vt:lpstr>Sharpen Companion Log-In Flow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Herrig, Meghan</cp:lastModifiedBy>
  <cp:revision>101</cp:revision>
  <dcterms:created xsi:type="dcterms:W3CDTF">2023-07-10T01:20:11Z</dcterms:created>
  <dcterms:modified xsi:type="dcterms:W3CDTF">2025-05-22T15:0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lpwstr>2220300.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</Properties>
</file>